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at" ContentType="text/plai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officeDocument/2006/relationships/extended-properties" Target="docProps/app.xml" Id="rId3" /><Relationship Type="http://schemas.openxmlformats.org/package/2006/relationships/metadata/core-properties" Target="docProps/core.xml" Id="rId2" /><Relationship Type="http://schemas.openxmlformats.org/officeDocument/2006/relationships/officeDocument" Target="ppt/presentation.xml" Id="rId1" /><Relationship Type="http://schemas.microsoft.com/office/2006/relationships/txt" Target="/udata/data.dat" Id="R9022fcc694454136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256" r:id="rId2"/>
    <p:sldId id="277" r:id="rId3"/>
    <p:sldId id="299" r:id="rId4"/>
    <p:sldId id="304" r:id="rId5"/>
    <p:sldId id="305" r:id="rId6"/>
    <p:sldId id="306" r:id="rId7"/>
    <p:sldId id="307" r:id="rId8"/>
    <p:sldId id="309" r:id="rId9"/>
    <p:sldId id="310" r:id="rId10"/>
    <p:sldId id="311" r:id="rId11"/>
    <p:sldId id="312" r:id="rId12"/>
    <p:sldId id="278" r:id="rId13"/>
    <p:sldId id="314" r:id="rId14"/>
    <p:sldId id="315" r:id="rId15"/>
    <p:sldId id="316" r:id="rId16"/>
    <p:sldId id="290" r:id="rId17"/>
    <p:sldId id="259" r:id="rId1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81092" autoAdjust="0"/>
  </p:normalViewPr>
  <p:slideViewPr>
    <p:cSldViewPr>
      <p:cViewPr varScale="1">
        <p:scale>
          <a:sx n="105" d="100"/>
          <a:sy n="105" d="100"/>
        </p:scale>
        <p:origin x="1176" y="1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465C12-99CC-7246-904F-04046FC3A8DB}" type="doc">
      <dgm:prSet loTypeId="urn:microsoft.com/office/officeart/2008/layout/VerticalCurved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37A29FA-BAD2-9A4D-A96D-347C21EAC440}">
      <dgm:prSet phldrT="[文本]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r>
            <a:rPr lang="en-US" altLang="zh-CN" dirty="0">
              <a:solidFill>
                <a:schemeClr val="tx1"/>
              </a:solidFill>
            </a:rPr>
            <a:t>user + </a:t>
          </a:r>
          <a:r>
            <a:rPr lang="en-US" altLang="zh-CN" dirty="0" err="1">
              <a:solidFill>
                <a:schemeClr val="tx1"/>
              </a:solidFill>
            </a:rPr>
            <a:t>sku</a:t>
          </a:r>
          <a:endParaRPr lang="zh-CN" altLang="en-US" dirty="0">
            <a:solidFill>
              <a:schemeClr val="tx1"/>
            </a:solidFill>
          </a:endParaRPr>
        </a:p>
      </dgm:t>
    </dgm:pt>
    <dgm:pt modelId="{9B1889F7-DC49-6C43-A295-8590245AF943}" type="parTrans" cxnId="{B6BCFCFE-BD38-6843-85A2-C7578DB07F71}">
      <dgm:prSet/>
      <dgm:spPr/>
      <dgm:t>
        <a:bodyPr/>
        <a:lstStyle/>
        <a:p>
          <a:endParaRPr lang="zh-CN" altLang="en-US"/>
        </a:p>
      </dgm:t>
    </dgm:pt>
    <dgm:pt modelId="{F1894F6B-1542-584E-BE84-59FB75CAA258}" type="sibTrans" cxnId="{B6BCFCFE-BD38-6843-85A2-C7578DB07F71}">
      <dgm:prSet/>
      <dgm:spPr/>
      <dgm:t>
        <a:bodyPr/>
        <a:lstStyle/>
        <a:p>
          <a:endParaRPr lang="zh-CN" altLang="en-US"/>
        </a:p>
      </dgm:t>
    </dgm:pt>
    <dgm:pt modelId="{DF9285A0-732B-B64B-B87B-C494307C289F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r>
            <a:rPr lang="en-US" altLang="zh-CN" dirty="0" err="1">
              <a:solidFill>
                <a:schemeClr val="tx1"/>
              </a:solidFill>
            </a:rPr>
            <a:t>hbase</a:t>
          </a:r>
          <a:r>
            <a:rPr lang="en-US" altLang="zh-CN" dirty="0">
              <a:solidFill>
                <a:schemeClr val="tx1"/>
              </a:solidFill>
            </a:rPr>
            <a:t> + redis</a:t>
          </a:r>
          <a:endParaRPr lang="zh-CN" altLang="en-US" dirty="0">
            <a:solidFill>
              <a:schemeClr val="tx1"/>
            </a:solidFill>
          </a:endParaRPr>
        </a:p>
      </dgm:t>
    </dgm:pt>
    <dgm:pt modelId="{27A86971-9EA5-8547-83D8-F8F3E341D68B}" type="parTrans" cxnId="{F7CDD619-25A0-C845-A425-C3BB8AEF34CD}">
      <dgm:prSet/>
      <dgm:spPr/>
      <dgm:t>
        <a:bodyPr/>
        <a:lstStyle/>
        <a:p>
          <a:endParaRPr lang="zh-CN" altLang="en-US"/>
        </a:p>
      </dgm:t>
    </dgm:pt>
    <dgm:pt modelId="{E7CC741A-4DA1-F341-B74E-A890CE16DA3E}" type="sibTrans" cxnId="{F7CDD619-25A0-C845-A425-C3BB8AEF34CD}">
      <dgm:prSet/>
      <dgm:spPr/>
      <dgm:t>
        <a:bodyPr/>
        <a:lstStyle/>
        <a:p>
          <a:endParaRPr lang="zh-CN" altLang="en-US"/>
        </a:p>
      </dgm:t>
    </dgm:pt>
    <dgm:pt modelId="{46F13DD8-E10B-064C-9C84-85FE01F2D10F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r>
            <a:rPr lang="en-US" altLang="zh-CN" dirty="0">
              <a:solidFill>
                <a:schemeClr val="tx1"/>
              </a:solidFill>
            </a:rPr>
            <a:t>offline</a:t>
          </a:r>
          <a:r>
            <a:rPr lang="zh-CN" altLang="en-US" dirty="0">
              <a:solidFill>
                <a:schemeClr val="tx1"/>
              </a:solidFill>
            </a:rPr>
            <a:t> </a:t>
          </a:r>
          <a:r>
            <a:rPr lang="en-US" altLang="zh-CN" dirty="0">
              <a:solidFill>
                <a:schemeClr val="tx1"/>
              </a:solidFill>
            </a:rPr>
            <a:t>+</a:t>
          </a:r>
          <a:r>
            <a:rPr lang="zh-CN" altLang="en-US" dirty="0">
              <a:solidFill>
                <a:schemeClr val="tx1"/>
              </a:solidFill>
            </a:rPr>
            <a:t> </a:t>
          </a:r>
          <a:r>
            <a:rPr lang="en-US" altLang="zh-CN" dirty="0" err="1">
              <a:solidFill>
                <a:schemeClr val="tx1"/>
              </a:solidFill>
            </a:rPr>
            <a:t>realtime</a:t>
          </a:r>
          <a:endParaRPr lang="zh-CN" altLang="en-US" dirty="0">
            <a:solidFill>
              <a:schemeClr val="tx1"/>
            </a:solidFill>
          </a:endParaRPr>
        </a:p>
      </dgm:t>
    </dgm:pt>
    <dgm:pt modelId="{186DDFD8-F3E8-C84C-BE68-E66BC0EF8828}" type="parTrans" cxnId="{60752E2C-C441-0146-A264-A5A150A1A5AE}">
      <dgm:prSet/>
      <dgm:spPr/>
      <dgm:t>
        <a:bodyPr/>
        <a:lstStyle/>
        <a:p>
          <a:endParaRPr lang="zh-CN" altLang="en-US"/>
        </a:p>
      </dgm:t>
    </dgm:pt>
    <dgm:pt modelId="{1BF59D6E-2418-6F41-8DB5-0EB22FD802B7}" type="sibTrans" cxnId="{60752E2C-C441-0146-A264-A5A150A1A5AE}">
      <dgm:prSet/>
      <dgm:spPr/>
      <dgm:t>
        <a:bodyPr/>
        <a:lstStyle/>
        <a:p>
          <a:endParaRPr lang="zh-CN" altLang="en-US"/>
        </a:p>
      </dgm:t>
    </dgm:pt>
    <dgm:pt modelId="{879F36F2-AD6A-434B-8CF2-A188C657E08F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r>
            <a:rPr lang="en-US" altLang="zh-CN" dirty="0" err="1">
              <a:solidFill>
                <a:schemeClr val="tx1"/>
              </a:solidFill>
            </a:rPr>
            <a:t>dbproxy</a:t>
          </a:r>
          <a:r>
            <a:rPr lang="en-US" altLang="zh-CN" dirty="0">
              <a:solidFill>
                <a:schemeClr val="tx1"/>
              </a:solidFill>
            </a:rPr>
            <a:t> +</a:t>
          </a:r>
          <a:r>
            <a:rPr lang="zh-CN" altLang="en-US" dirty="0">
              <a:solidFill>
                <a:schemeClr val="tx1"/>
              </a:solidFill>
            </a:rPr>
            <a:t> </a:t>
          </a:r>
          <a:r>
            <a:rPr lang="en-US" altLang="zh-CN" dirty="0" err="1">
              <a:solidFill>
                <a:schemeClr val="tx1"/>
              </a:solidFill>
            </a:rPr>
            <a:t>hbase</a:t>
          </a:r>
          <a:r>
            <a:rPr lang="en-US" altLang="zh-CN" dirty="0">
              <a:solidFill>
                <a:schemeClr val="tx1"/>
              </a:solidFill>
            </a:rPr>
            <a:t>-to-redis</a:t>
          </a:r>
          <a:endParaRPr lang="zh-CN" altLang="en-US" dirty="0">
            <a:solidFill>
              <a:schemeClr val="tx1"/>
            </a:solidFill>
          </a:endParaRPr>
        </a:p>
      </dgm:t>
    </dgm:pt>
    <dgm:pt modelId="{0027DA53-9614-AE4C-A485-12C79A935B78}" type="parTrans" cxnId="{BD312D6A-A64D-F04A-85CC-FF0250AD8092}">
      <dgm:prSet/>
      <dgm:spPr/>
      <dgm:t>
        <a:bodyPr/>
        <a:lstStyle/>
        <a:p>
          <a:endParaRPr lang="zh-CN" altLang="en-US"/>
        </a:p>
      </dgm:t>
    </dgm:pt>
    <dgm:pt modelId="{988595EF-7B4B-C746-9619-9A8CCB918027}" type="sibTrans" cxnId="{BD312D6A-A64D-F04A-85CC-FF0250AD8092}">
      <dgm:prSet/>
      <dgm:spPr/>
      <dgm:t>
        <a:bodyPr/>
        <a:lstStyle/>
        <a:p>
          <a:endParaRPr lang="zh-CN" altLang="en-US"/>
        </a:p>
      </dgm:t>
    </dgm:pt>
    <dgm:pt modelId="{1E9B2997-FB31-2D45-812C-95E4FB79E28B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r>
            <a:rPr lang="en-US" altLang="zh-CN" dirty="0">
              <a:solidFill>
                <a:schemeClr val="tx1"/>
              </a:solidFill>
            </a:rPr>
            <a:t>recmate + sniffer +rsm</a:t>
          </a:r>
          <a:endParaRPr lang="zh-CN" altLang="en-US" dirty="0">
            <a:solidFill>
              <a:schemeClr val="tx1"/>
            </a:solidFill>
          </a:endParaRPr>
        </a:p>
      </dgm:t>
    </dgm:pt>
    <dgm:pt modelId="{EA584475-5D7A-4F46-8A4E-3426E2FAE145}" type="parTrans" cxnId="{B70B9513-FF2B-134E-B7CA-C55A23362A47}">
      <dgm:prSet/>
      <dgm:spPr/>
      <dgm:t>
        <a:bodyPr/>
        <a:lstStyle/>
        <a:p>
          <a:endParaRPr lang="zh-CN" altLang="en-US"/>
        </a:p>
      </dgm:t>
    </dgm:pt>
    <dgm:pt modelId="{5C9A73F3-A83C-0B4F-85F3-3BA6AED66414}" type="sibTrans" cxnId="{B70B9513-FF2B-134E-B7CA-C55A23362A47}">
      <dgm:prSet/>
      <dgm:spPr/>
      <dgm:t>
        <a:bodyPr/>
        <a:lstStyle/>
        <a:p>
          <a:endParaRPr lang="zh-CN" altLang="en-US"/>
        </a:p>
      </dgm:t>
    </dgm:pt>
    <dgm:pt modelId="{A552E8EB-3653-8F43-A726-E2C122D17177}" type="pres">
      <dgm:prSet presAssocID="{7C465C12-99CC-7246-904F-04046FC3A8DB}" presName="Name0" presStyleCnt="0">
        <dgm:presLayoutVars>
          <dgm:chMax val="7"/>
          <dgm:chPref val="7"/>
          <dgm:dir/>
        </dgm:presLayoutVars>
      </dgm:prSet>
      <dgm:spPr/>
    </dgm:pt>
    <dgm:pt modelId="{A7F58482-FE8A-0C48-8274-7A25902B30FC}" type="pres">
      <dgm:prSet presAssocID="{7C465C12-99CC-7246-904F-04046FC3A8DB}" presName="Name1" presStyleCnt="0"/>
      <dgm:spPr/>
    </dgm:pt>
    <dgm:pt modelId="{16208326-A1AA-834B-A877-0908267EBA90}" type="pres">
      <dgm:prSet presAssocID="{7C465C12-99CC-7246-904F-04046FC3A8DB}" presName="cycle" presStyleCnt="0"/>
      <dgm:spPr/>
    </dgm:pt>
    <dgm:pt modelId="{32AD8460-2091-ED46-9CFB-8C42009796B4}" type="pres">
      <dgm:prSet presAssocID="{7C465C12-99CC-7246-904F-04046FC3A8DB}" presName="srcNode" presStyleLbl="node1" presStyleIdx="0" presStyleCnt="5"/>
      <dgm:spPr/>
    </dgm:pt>
    <dgm:pt modelId="{FCAF625E-81AE-A94D-8493-23192B2F89E2}" type="pres">
      <dgm:prSet presAssocID="{7C465C12-99CC-7246-904F-04046FC3A8DB}" presName="conn" presStyleLbl="parChTrans1D2" presStyleIdx="0" presStyleCnt="1"/>
      <dgm:spPr/>
    </dgm:pt>
    <dgm:pt modelId="{ED9E1685-780D-294E-9C5B-8FCAC3C48703}" type="pres">
      <dgm:prSet presAssocID="{7C465C12-99CC-7246-904F-04046FC3A8DB}" presName="extraNode" presStyleLbl="node1" presStyleIdx="0" presStyleCnt="5"/>
      <dgm:spPr/>
    </dgm:pt>
    <dgm:pt modelId="{6B2F7E79-C1D8-A142-A4E6-0E289F97F0BB}" type="pres">
      <dgm:prSet presAssocID="{7C465C12-99CC-7246-904F-04046FC3A8DB}" presName="dstNode" presStyleLbl="node1" presStyleIdx="0" presStyleCnt="5"/>
      <dgm:spPr/>
    </dgm:pt>
    <dgm:pt modelId="{09ECB161-3601-0F4D-826F-7CC73EAA9104}" type="pres">
      <dgm:prSet presAssocID="{537A29FA-BAD2-9A4D-A96D-347C21EAC440}" presName="text_1" presStyleLbl="node1" presStyleIdx="0" presStyleCnt="5">
        <dgm:presLayoutVars>
          <dgm:bulletEnabled val="1"/>
        </dgm:presLayoutVars>
      </dgm:prSet>
      <dgm:spPr/>
    </dgm:pt>
    <dgm:pt modelId="{B11BB87C-0CEB-444C-863D-0A9E7CF4F57E}" type="pres">
      <dgm:prSet presAssocID="{537A29FA-BAD2-9A4D-A96D-347C21EAC440}" presName="accent_1" presStyleCnt="0"/>
      <dgm:spPr/>
    </dgm:pt>
    <dgm:pt modelId="{9FA3CB24-E869-D449-8070-A4E69B68EAE3}" type="pres">
      <dgm:prSet presAssocID="{537A29FA-BAD2-9A4D-A96D-347C21EAC440}" presName="accentRepeatNode" presStyleLbl="solidFgAcc1" presStyleIdx="0" presStyleCnt="5"/>
      <dgm:spPr/>
    </dgm:pt>
    <dgm:pt modelId="{680EE070-8850-9D4B-B201-28CD11118C6E}" type="pres">
      <dgm:prSet presAssocID="{DF9285A0-732B-B64B-B87B-C494307C289F}" presName="text_2" presStyleLbl="node1" presStyleIdx="1" presStyleCnt="5">
        <dgm:presLayoutVars>
          <dgm:bulletEnabled val="1"/>
        </dgm:presLayoutVars>
      </dgm:prSet>
      <dgm:spPr/>
    </dgm:pt>
    <dgm:pt modelId="{89F30A6B-CAA6-0E41-8EB2-A22E797931C8}" type="pres">
      <dgm:prSet presAssocID="{DF9285A0-732B-B64B-B87B-C494307C289F}" presName="accent_2" presStyleCnt="0"/>
      <dgm:spPr/>
    </dgm:pt>
    <dgm:pt modelId="{C2F87AD7-AD27-434B-92B9-5BA427D0428F}" type="pres">
      <dgm:prSet presAssocID="{DF9285A0-732B-B64B-B87B-C494307C289F}" presName="accentRepeatNode" presStyleLbl="solidFgAcc1" presStyleIdx="1" presStyleCnt="5"/>
      <dgm:spPr/>
    </dgm:pt>
    <dgm:pt modelId="{1F30C656-EAFB-CD42-8C20-3392B3105394}" type="pres">
      <dgm:prSet presAssocID="{46F13DD8-E10B-064C-9C84-85FE01F2D10F}" presName="text_3" presStyleLbl="node1" presStyleIdx="2" presStyleCnt="5">
        <dgm:presLayoutVars>
          <dgm:bulletEnabled val="1"/>
        </dgm:presLayoutVars>
      </dgm:prSet>
      <dgm:spPr/>
    </dgm:pt>
    <dgm:pt modelId="{D039A8DC-1AF0-4146-9BD4-6039BD3B89DF}" type="pres">
      <dgm:prSet presAssocID="{46F13DD8-E10B-064C-9C84-85FE01F2D10F}" presName="accent_3" presStyleCnt="0"/>
      <dgm:spPr/>
    </dgm:pt>
    <dgm:pt modelId="{38348B20-81BF-4F48-B638-B34D5C1C78CA}" type="pres">
      <dgm:prSet presAssocID="{46F13DD8-E10B-064C-9C84-85FE01F2D10F}" presName="accentRepeatNode" presStyleLbl="solidFgAcc1" presStyleIdx="2" presStyleCnt="5"/>
      <dgm:spPr/>
    </dgm:pt>
    <dgm:pt modelId="{2AAA75A9-B55D-C34A-B654-F35F220FB3BE}" type="pres">
      <dgm:prSet presAssocID="{879F36F2-AD6A-434B-8CF2-A188C657E08F}" presName="text_4" presStyleLbl="node1" presStyleIdx="3" presStyleCnt="5">
        <dgm:presLayoutVars>
          <dgm:bulletEnabled val="1"/>
        </dgm:presLayoutVars>
      </dgm:prSet>
      <dgm:spPr/>
    </dgm:pt>
    <dgm:pt modelId="{853C3715-1340-C04B-91B5-6E7D3F91B2B4}" type="pres">
      <dgm:prSet presAssocID="{879F36F2-AD6A-434B-8CF2-A188C657E08F}" presName="accent_4" presStyleCnt="0"/>
      <dgm:spPr/>
    </dgm:pt>
    <dgm:pt modelId="{DF058496-078A-7340-8424-AAFE0AC08331}" type="pres">
      <dgm:prSet presAssocID="{879F36F2-AD6A-434B-8CF2-A188C657E08F}" presName="accentRepeatNode" presStyleLbl="solidFgAcc1" presStyleIdx="3" presStyleCnt="5"/>
      <dgm:spPr/>
    </dgm:pt>
    <dgm:pt modelId="{BF01D115-2035-F346-A8F0-9EC8EE41DC26}" type="pres">
      <dgm:prSet presAssocID="{1E9B2997-FB31-2D45-812C-95E4FB79E28B}" presName="text_5" presStyleLbl="node1" presStyleIdx="4" presStyleCnt="5">
        <dgm:presLayoutVars>
          <dgm:bulletEnabled val="1"/>
        </dgm:presLayoutVars>
      </dgm:prSet>
      <dgm:spPr/>
    </dgm:pt>
    <dgm:pt modelId="{D3332166-ABD3-4F44-8250-0F1FE36DF912}" type="pres">
      <dgm:prSet presAssocID="{1E9B2997-FB31-2D45-812C-95E4FB79E28B}" presName="accent_5" presStyleCnt="0"/>
      <dgm:spPr/>
    </dgm:pt>
    <dgm:pt modelId="{EB039167-A180-5340-842B-5FBD7BC6FF84}" type="pres">
      <dgm:prSet presAssocID="{1E9B2997-FB31-2D45-812C-95E4FB79E28B}" presName="accentRepeatNode" presStyleLbl="solidFgAcc1" presStyleIdx="4" presStyleCnt="5"/>
      <dgm:spPr/>
    </dgm:pt>
  </dgm:ptLst>
  <dgm:cxnLst>
    <dgm:cxn modelId="{B70B9513-FF2B-134E-B7CA-C55A23362A47}" srcId="{7C465C12-99CC-7246-904F-04046FC3A8DB}" destId="{1E9B2997-FB31-2D45-812C-95E4FB79E28B}" srcOrd="4" destOrd="0" parTransId="{EA584475-5D7A-4F46-8A4E-3426E2FAE145}" sibTransId="{5C9A73F3-A83C-0B4F-85F3-3BA6AED66414}"/>
    <dgm:cxn modelId="{F7CDD619-25A0-C845-A425-C3BB8AEF34CD}" srcId="{7C465C12-99CC-7246-904F-04046FC3A8DB}" destId="{DF9285A0-732B-B64B-B87B-C494307C289F}" srcOrd="1" destOrd="0" parTransId="{27A86971-9EA5-8547-83D8-F8F3E341D68B}" sibTransId="{E7CC741A-4DA1-F341-B74E-A890CE16DA3E}"/>
    <dgm:cxn modelId="{60752E2C-C441-0146-A264-A5A150A1A5AE}" srcId="{7C465C12-99CC-7246-904F-04046FC3A8DB}" destId="{46F13DD8-E10B-064C-9C84-85FE01F2D10F}" srcOrd="2" destOrd="0" parTransId="{186DDFD8-F3E8-C84C-BE68-E66BC0EF8828}" sibTransId="{1BF59D6E-2418-6F41-8DB5-0EB22FD802B7}"/>
    <dgm:cxn modelId="{97188441-E34C-FA45-B9BA-ED331CF26B93}" type="presOf" srcId="{537A29FA-BAD2-9A4D-A96D-347C21EAC440}" destId="{09ECB161-3601-0F4D-826F-7CC73EAA9104}" srcOrd="0" destOrd="0" presId="urn:microsoft.com/office/officeart/2008/layout/VerticalCurvedList"/>
    <dgm:cxn modelId="{BD312D6A-A64D-F04A-85CC-FF0250AD8092}" srcId="{7C465C12-99CC-7246-904F-04046FC3A8DB}" destId="{879F36F2-AD6A-434B-8CF2-A188C657E08F}" srcOrd="3" destOrd="0" parTransId="{0027DA53-9614-AE4C-A485-12C79A935B78}" sibTransId="{988595EF-7B4B-C746-9619-9A8CCB918027}"/>
    <dgm:cxn modelId="{0EEBDB6C-C0BD-6C46-9112-D02BDCF20444}" type="presOf" srcId="{1E9B2997-FB31-2D45-812C-95E4FB79E28B}" destId="{BF01D115-2035-F346-A8F0-9EC8EE41DC26}" srcOrd="0" destOrd="0" presId="urn:microsoft.com/office/officeart/2008/layout/VerticalCurvedList"/>
    <dgm:cxn modelId="{A46C9DA6-8E18-804C-9C1E-C1F343209E17}" type="presOf" srcId="{F1894F6B-1542-584E-BE84-59FB75CAA258}" destId="{FCAF625E-81AE-A94D-8493-23192B2F89E2}" srcOrd="0" destOrd="0" presId="urn:microsoft.com/office/officeart/2008/layout/VerticalCurvedList"/>
    <dgm:cxn modelId="{A86A36A9-264F-154D-BB7A-E59FEC1FD8C1}" type="presOf" srcId="{DF9285A0-732B-B64B-B87B-C494307C289F}" destId="{680EE070-8850-9D4B-B201-28CD11118C6E}" srcOrd="0" destOrd="0" presId="urn:microsoft.com/office/officeart/2008/layout/VerticalCurvedList"/>
    <dgm:cxn modelId="{48C33FAA-56DD-1E40-9034-2D06C499D3F7}" type="presOf" srcId="{46F13DD8-E10B-064C-9C84-85FE01F2D10F}" destId="{1F30C656-EAFB-CD42-8C20-3392B3105394}" srcOrd="0" destOrd="0" presId="urn:microsoft.com/office/officeart/2008/layout/VerticalCurvedList"/>
    <dgm:cxn modelId="{00D0ECEA-488C-E446-AB92-0D40A1FBFEF5}" type="presOf" srcId="{7C465C12-99CC-7246-904F-04046FC3A8DB}" destId="{A552E8EB-3653-8F43-A726-E2C122D17177}" srcOrd="0" destOrd="0" presId="urn:microsoft.com/office/officeart/2008/layout/VerticalCurvedList"/>
    <dgm:cxn modelId="{BE7252ED-5982-104F-87EA-ECB7D136C38B}" type="presOf" srcId="{879F36F2-AD6A-434B-8CF2-A188C657E08F}" destId="{2AAA75A9-B55D-C34A-B654-F35F220FB3BE}" srcOrd="0" destOrd="0" presId="urn:microsoft.com/office/officeart/2008/layout/VerticalCurvedList"/>
    <dgm:cxn modelId="{B6BCFCFE-BD38-6843-85A2-C7578DB07F71}" srcId="{7C465C12-99CC-7246-904F-04046FC3A8DB}" destId="{537A29FA-BAD2-9A4D-A96D-347C21EAC440}" srcOrd="0" destOrd="0" parTransId="{9B1889F7-DC49-6C43-A295-8590245AF943}" sibTransId="{F1894F6B-1542-584E-BE84-59FB75CAA258}"/>
    <dgm:cxn modelId="{13C1CDC4-D72D-814F-9045-519620E39F90}" type="presParOf" srcId="{A552E8EB-3653-8F43-A726-E2C122D17177}" destId="{A7F58482-FE8A-0C48-8274-7A25902B30FC}" srcOrd="0" destOrd="0" presId="urn:microsoft.com/office/officeart/2008/layout/VerticalCurvedList"/>
    <dgm:cxn modelId="{CCF2B367-D6AE-2E4A-80F4-A195768A8E04}" type="presParOf" srcId="{A7F58482-FE8A-0C48-8274-7A25902B30FC}" destId="{16208326-A1AA-834B-A877-0908267EBA90}" srcOrd="0" destOrd="0" presId="urn:microsoft.com/office/officeart/2008/layout/VerticalCurvedList"/>
    <dgm:cxn modelId="{261ABFF5-9DD4-094C-8A1B-93263BFAA2AB}" type="presParOf" srcId="{16208326-A1AA-834B-A877-0908267EBA90}" destId="{32AD8460-2091-ED46-9CFB-8C42009796B4}" srcOrd="0" destOrd="0" presId="urn:microsoft.com/office/officeart/2008/layout/VerticalCurvedList"/>
    <dgm:cxn modelId="{46560A5F-5CF3-6947-983C-A77699C19086}" type="presParOf" srcId="{16208326-A1AA-834B-A877-0908267EBA90}" destId="{FCAF625E-81AE-A94D-8493-23192B2F89E2}" srcOrd="1" destOrd="0" presId="urn:microsoft.com/office/officeart/2008/layout/VerticalCurvedList"/>
    <dgm:cxn modelId="{402E9FDA-FECC-244C-A7C4-AC2BC6C0D3FC}" type="presParOf" srcId="{16208326-A1AA-834B-A877-0908267EBA90}" destId="{ED9E1685-780D-294E-9C5B-8FCAC3C48703}" srcOrd="2" destOrd="0" presId="urn:microsoft.com/office/officeart/2008/layout/VerticalCurvedList"/>
    <dgm:cxn modelId="{E756BC2C-7657-5247-AC04-B266AE089F65}" type="presParOf" srcId="{16208326-A1AA-834B-A877-0908267EBA90}" destId="{6B2F7E79-C1D8-A142-A4E6-0E289F97F0BB}" srcOrd="3" destOrd="0" presId="urn:microsoft.com/office/officeart/2008/layout/VerticalCurvedList"/>
    <dgm:cxn modelId="{B6537E75-C4B9-2C44-90B5-6692082EC8AE}" type="presParOf" srcId="{A7F58482-FE8A-0C48-8274-7A25902B30FC}" destId="{09ECB161-3601-0F4D-826F-7CC73EAA9104}" srcOrd="1" destOrd="0" presId="urn:microsoft.com/office/officeart/2008/layout/VerticalCurvedList"/>
    <dgm:cxn modelId="{B4870944-94F8-A84F-9A89-DE1D24883521}" type="presParOf" srcId="{A7F58482-FE8A-0C48-8274-7A25902B30FC}" destId="{B11BB87C-0CEB-444C-863D-0A9E7CF4F57E}" srcOrd="2" destOrd="0" presId="urn:microsoft.com/office/officeart/2008/layout/VerticalCurvedList"/>
    <dgm:cxn modelId="{33F13292-3825-744B-A8DF-0C22E970BCD7}" type="presParOf" srcId="{B11BB87C-0CEB-444C-863D-0A9E7CF4F57E}" destId="{9FA3CB24-E869-D449-8070-A4E69B68EAE3}" srcOrd="0" destOrd="0" presId="urn:microsoft.com/office/officeart/2008/layout/VerticalCurvedList"/>
    <dgm:cxn modelId="{FE04B8ED-55A4-BE4D-A22B-405B5F9E2C0B}" type="presParOf" srcId="{A7F58482-FE8A-0C48-8274-7A25902B30FC}" destId="{680EE070-8850-9D4B-B201-28CD11118C6E}" srcOrd="3" destOrd="0" presId="urn:microsoft.com/office/officeart/2008/layout/VerticalCurvedList"/>
    <dgm:cxn modelId="{2BD2C3E6-3884-8F49-963F-FC4C0073FBFE}" type="presParOf" srcId="{A7F58482-FE8A-0C48-8274-7A25902B30FC}" destId="{89F30A6B-CAA6-0E41-8EB2-A22E797931C8}" srcOrd="4" destOrd="0" presId="urn:microsoft.com/office/officeart/2008/layout/VerticalCurvedList"/>
    <dgm:cxn modelId="{545258F2-3E22-0F47-910B-A28ACC0290F0}" type="presParOf" srcId="{89F30A6B-CAA6-0E41-8EB2-A22E797931C8}" destId="{C2F87AD7-AD27-434B-92B9-5BA427D0428F}" srcOrd="0" destOrd="0" presId="urn:microsoft.com/office/officeart/2008/layout/VerticalCurvedList"/>
    <dgm:cxn modelId="{75270EE4-E665-9D4E-A7AE-2524546FD915}" type="presParOf" srcId="{A7F58482-FE8A-0C48-8274-7A25902B30FC}" destId="{1F30C656-EAFB-CD42-8C20-3392B3105394}" srcOrd="5" destOrd="0" presId="urn:microsoft.com/office/officeart/2008/layout/VerticalCurvedList"/>
    <dgm:cxn modelId="{B3FA0A44-D64D-FC42-8C96-B22B272AF071}" type="presParOf" srcId="{A7F58482-FE8A-0C48-8274-7A25902B30FC}" destId="{D039A8DC-1AF0-4146-9BD4-6039BD3B89DF}" srcOrd="6" destOrd="0" presId="urn:microsoft.com/office/officeart/2008/layout/VerticalCurvedList"/>
    <dgm:cxn modelId="{E759F5E1-875C-1143-B74F-490D42DC8232}" type="presParOf" srcId="{D039A8DC-1AF0-4146-9BD4-6039BD3B89DF}" destId="{38348B20-81BF-4F48-B638-B34D5C1C78CA}" srcOrd="0" destOrd="0" presId="urn:microsoft.com/office/officeart/2008/layout/VerticalCurvedList"/>
    <dgm:cxn modelId="{10CA599B-EA4B-A540-A0AD-C8D9F7CA2647}" type="presParOf" srcId="{A7F58482-FE8A-0C48-8274-7A25902B30FC}" destId="{2AAA75A9-B55D-C34A-B654-F35F220FB3BE}" srcOrd="7" destOrd="0" presId="urn:microsoft.com/office/officeart/2008/layout/VerticalCurvedList"/>
    <dgm:cxn modelId="{EB6E498C-3058-F848-BA02-1587A5A5EE4C}" type="presParOf" srcId="{A7F58482-FE8A-0C48-8274-7A25902B30FC}" destId="{853C3715-1340-C04B-91B5-6E7D3F91B2B4}" srcOrd="8" destOrd="0" presId="urn:microsoft.com/office/officeart/2008/layout/VerticalCurvedList"/>
    <dgm:cxn modelId="{96F0ACA4-4D9D-0242-9B2B-75997C7BC24D}" type="presParOf" srcId="{853C3715-1340-C04B-91B5-6E7D3F91B2B4}" destId="{DF058496-078A-7340-8424-AAFE0AC08331}" srcOrd="0" destOrd="0" presId="urn:microsoft.com/office/officeart/2008/layout/VerticalCurvedList"/>
    <dgm:cxn modelId="{17FF2907-EC81-E349-8E79-96E39731B1BE}" type="presParOf" srcId="{A7F58482-FE8A-0C48-8274-7A25902B30FC}" destId="{BF01D115-2035-F346-A8F0-9EC8EE41DC26}" srcOrd="9" destOrd="0" presId="urn:microsoft.com/office/officeart/2008/layout/VerticalCurvedList"/>
    <dgm:cxn modelId="{53DA0357-508F-7349-93DF-4B1C59685C17}" type="presParOf" srcId="{A7F58482-FE8A-0C48-8274-7A25902B30FC}" destId="{D3332166-ABD3-4F44-8250-0F1FE36DF912}" srcOrd="10" destOrd="0" presId="urn:microsoft.com/office/officeart/2008/layout/VerticalCurvedList"/>
    <dgm:cxn modelId="{A9E51940-FE45-2448-BA81-ADEE18C55410}" type="presParOf" srcId="{D3332166-ABD3-4F44-8250-0F1FE36DF912}" destId="{EB039167-A180-5340-842B-5FBD7BC6FF8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EA34546-A1D0-B94D-9DBB-7522482CD5D3}" type="doc">
      <dgm:prSet loTypeId="urn:microsoft.com/office/officeart/2005/8/layout/hierarchy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4D5D00FA-759B-6243-AA8F-6760BE0545A7}">
      <dgm:prSet phldrT="[文本]"/>
      <dgm:spPr/>
      <dgm:t>
        <a:bodyPr/>
        <a:lstStyle/>
        <a:p>
          <a:r>
            <a:rPr lang="en-US" altLang="zh-CN" dirty="0"/>
            <a:t>main</a:t>
          </a:r>
          <a:endParaRPr lang="zh-CN" altLang="en-US" dirty="0"/>
        </a:p>
      </dgm:t>
    </dgm:pt>
    <dgm:pt modelId="{8FD35A8E-40EB-084A-94EF-25D78301D7CF}" type="parTrans" cxnId="{6EC80B33-6F6B-384F-9CF3-BDAB29EF3022}">
      <dgm:prSet/>
      <dgm:spPr/>
      <dgm:t>
        <a:bodyPr/>
        <a:lstStyle/>
        <a:p>
          <a:endParaRPr lang="zh-CN" altLang="en-US"/>
        </a:p>
      </dgm:t>
    </dgm:pt>
    <dgm:pt modelId="{4B3FECB9-74B4-7643-864D-3433DC63647D}" type="sibTrans" cxnId="{6EC80B33-6F6B-384F-9CF3-BDAB29EF3022}">
      <dgm:prSet/>
      <dgm:spPr/>
      <dgm:t>
        <a:bodyPr/>
        <a:lstStyle/>
        <a:p>
          <a:endParaRPr lang="zh-CN" altLang="en-US"/>
        </a:p>
      </dgm:t>
    </dgm:pt>
    <dgm:pt modelId="{0AF248E3-5EC8-E341-AF2A-6D7F0F7EC6A5}">
      <dgm:prSet phldrT="[文本]"/>
      <dgm:spPr/>
      <dgm:t>
        <a:bodyPr/>
        <a:lstStyle/>
        <a:p>
          <a:r>
            <a:rPr lang="en-US" altLang="zh-CN" dirty="0" err="1"/>
            <a:t>iteminfo</a:t>
          </a:r>
          <a:endParaRPr lang="zh-CN" altLang="en-US" dirty="0"/>
        </a:p>
      </dgm:t>
    </dgm:pt>
    <dgm:pt modelId="{371D7F37-0A10-A047-A463-B231726FC87E}" type="parTrans" cxnId="{0BEFC1DF-C827-364C-A5F2-BEC636799149}">
      <dgm:prSet/>
      <dgm:spPr/>
      <dgm:t>
        <a:bodyPr/>
        <a:lstStyle/>
        <a:p>
          <a:endParaRPr lang="zh-CN" altLang="en-US"/>
        </a:p>
      </dgm:t>
    </dgm:pt>
    <dgm:pt modelId="{B3F294B2-3FEC-B14E-AAB4-658CA9388A9F}" type="sibTrans" cxnId="{0BEFC1DF-C827-364C-A5F2-BEC636799149}">
      <dgm:prSet/>
      <dgm:spPr/>
      <dgm:t>
        <a:bodyPr/>
        <a:lstStyle/>
        <a:p>
          <a:endParaRPr lang="zh-CN" altLang="en-US"/>
        </a:p>
      </dgm:t>
    </dgm:pt>
    <dgm:pt modelId="{01E66327-E362-5548-AB0B-0F5B34606F79}">
      <dgm:prSet phldrT="[文本]"/>
      <dgm:spPr/>
      <dgm:t>
        <a:bodyPr/>
        <a:lstStyle/>
        <a:p>
          <a:r>
            <a:rPr lang="en-US" altLang="zh-CN" dirty="0" err="1"/>
            <a:t>iteminfoMap</a:t>
          </a:r>
          <a:endParaRPr lang="zh-CN" altLang="en-US" dirty="0"/>
        </a:p>
      </dgm:t>
    </dgm:pt>
    <dgm:pt modelId="{38E30C8C-26C7-3540-96F8-C8C1F5D32913}" type="parTrans" cxnId="{9F078675-EAE0-D24C-8E48-4B57EF945DE2}">
      <dgm:prSet/>
      <dgm:spPr/>
      <dgm:t>
        <a:bodyPr/>
        <a:lstStyle/>
        <a:p>
          <a:endParaRPr lang="zh-CN" altLang="en-US"/>
        </a:p>
      </dgm:t>
    </dgm:pt>
    <dgm:pt modelId="{2CA37395-96EE-B245-836A-0EAB2B543237}" type="sibTrans" cxnId="{9F078675-EAE0-D24C-8E48-4B57EF945DE2}">
      <dgm:prSet/>
      <dgm:spPr/>
      <dgm:t>
        <a:bodyPr/>
        <a:lstStyle/>
        <a:p>
          <a:endParaRPr lang="zh-CN" altLang="en-US"/>
        </a:p>
      </dgm:t>
    </dgm:pt>
    <dgm:pt modelId="{7C4783A3-3759-D344-A802-F77CADE31125}">
      <dgm:prSet phldrT="[文本]"/>
      <dgm:spPr/>
      <dgm:t>
        <a:bodyPr/>
        <a:lstStyle/>
        <a:p>
          <a:r>
            <a:rPr lang="en-US" altLang="zh-CN" dirty="0" err="1"/>
            <a:t>iteminfoReduce</a:t>
          </a:r>
          <a:endParaRPr lang="zh-CN" altLang="en-US" dirty="0"/>
        </a:p>
      </dgm:t>
    </dgm:pt>
    <dgm:pt modelId="{566F7D64-E293-B74B-BFC6-DCA41704DAAD}" type="parTrans" cxnId="{805D2E8A-0E5A-0F44-BFF7-68E41B08C4DE}">
      <dgm:prSet/>
      <dgm:spPr/>
      <dgm:t>
        <a:bodyPr/>
        <a:lstStyle/>
        <a:p>
          <a:endParaRPr lang="zh-CN" altLang="en-US"/>
        </a:p>
      </dgm:t>
    </dgm:pt>
    <dgm:pt modelId="{3F74F6D7-1D8A-C94B-9076-8799EEA04C7B}" type="sibTrans" cxnId="{805D2E8A-0E5A-0F44-BFF7-68E41B08C4DE}">
      <dgm:prSet/>
      <dgm:spPr/>
      <dgm:t>
        <a:bodyPr/>
        <a:lstStyle/>
        <a:p>
          <a:endParaRPr lang="zh-CN" altLang="en-US"/>
        </a:p>
      </dgm:t>
    </dgm:pt>
    <dgm:pt modelId="{E6B064E2-70D4-3244-9841-744AB1531059}">
      <dgm:prSet phldrT="[文本]"/>
      <dgm:spPr/>
      <dgm:t>
        <a:bodyPr/>
        <a:lstStyle/>
        <a:p>
          <a:r>
            <a:rPr lang="en-US" altLang="zh-CN" dirty="0"/>
            <a:t>predict</a:t>
          </a:r>
          <a:endParaRPr lang="zh-CN" altLang="en-US" dirty="0"/>
        </a:p>
      </dgm:t>
    </dgm:pt>
    <dgm:pt modelId="{4EC4F929-C80E-EC4A-976C-EF78D4670DBF}" type="parTrans" cxnId="{65F0682C-7356-F143-90F1-763631686B85}">
      <dgm:prSet/>
      <dgm:spPr/>
      <dgm:t>
        <a:bodyPr/>
        <a:lstStyle/>
        <a:p>
          <a:endParaRPr lang="zh-CN" altLang="en-US"/>
        </a:p>
      </dgm:t>
    </dgm:pt>
    <dgm:pt modelId="{2B011C6B-BE08-3249-ACE0-7E3BCC136F6D}" type="sibTrans" cxnId="{65F0682C-7356-F143-90F1-763631686B85}">
      <dgm:prSet/>
      <dgm:spPr/>
      <dgm:t>
        <a:bodyPr/>
        <a:lstStyle/>
        <a:p>
          <a:endParaRPr lang="zh-CN" altLang="en-US"/>
        </a:p>
      </dgm:t>
    </dgm:pt>
    <dgm:pt modelId="{4CD53C6F-9B33-EB40-94D6-4902D3261396}">
      <dgm:prSet phldrT="[文本]"/>
      <dgm:spPr/>
      <dgm:t>
        <a:bodyPr/>
        <a:lstStyle/>
        <a:p>
          <a:r>
            <a:rPr lang="en-US" altLang="zh-CN" dirty="0" err="1"/>
            <a:t>predictMap</a:t>
          </a:r>
          <a:endParaRPr lang="zh-CN" altLang="en-US" dirty="0"/>
        </a:p>
      </dgm:t>
    </dgm:pt>
    <dgm:pt modelId="{142BD46F-D556-6D48-8778-EA99A260F1D2}" type="parTrans" cxnId="{090C33F7-F312-EF4A-BF92-0580ECD02035}">
      <dgm:prSet/>
      <dgm:spPr/>
      <dgm:t>
        <a:bodyPr/>
        <a:lstStyle/>
        <a:p>
          <a:endParaRPr lang="zh-CN" altLang="en-US"/>
        </a:p>
      </dgm:t>
    </dgm:pt>
    <dgm:pt modelId="{7661C4F0-B51B-BB41-BAA7-54B330ECC97A}" type="sibTrans" cxnId="{090C33F7-F312-EF4A-BF92-0580ECD02035}">
      <dgm:prSet/>
      <dgm:spPr/>
      <dgm:t>
        <a:bodyPr/>
        <a:lstStyle/>
        <a:p>
          <a:endParaRPr lang="zh-CN" altLang="en-US"/>
        </a:p>
      </dgm:t>
    </dgm:pt>
    <dgm:pt modelId="{22EA2142-34D3-4546-B583-B32C99A0A343}">
      <dgm:prSet/>
      <dgm:spPr/>
      <dgm:t>
        <a:bodyPr/>
        <a:lstStyle/>
        <a:p>
          <a:r>
            <a:rPr lang="en-US" altLang="zh-CN" dirty="0"/>
            <a:t>selection</a:t>
          </a:r>
          <a:endParaRPr lang="zh-CN" altLang="en-US" dirty="0"/>
        </a:p>
      </dgm:t>
    </dgm:pt>
    <dgm:pt modelId="{CEFCDC34-1159-FA4E-994C-46F5AF3D258A}" type="parTrans" cxnId="{14368480-1CA6-2447-83B6-7AF8890C7461}">
      <dgm:prSet/>
      <dgm:spPr/>
      <dgm:t>
        <a:bodyPr/>
        <a:lstStyle/>
        <a:p>
          <a:endParaRPr lang="zh-CN" altLang="en-US"/>
        </a:p>
      </dgm:t>
    </dgm:pt>
    <dgm:pt modelId="{BAA779C7-DCAC-0848-9E82-40304C9676AD}" type="sibTrans" cxnId="{14368480-1CA6-2447-83B6-7AF8890C7461}">
      <dgm:prSet/>
      <dgm:spPr/>
      <dgm:t>
        <a:bodyPr/>
        <a:lstStyle/>
        <a:p>
          <a:endParaRPr lang="zh-CN" altLang="en-US"/>
        </a:p>
      </dgm:t>
    </dgm:pt>
    <dgm:pt modelId="{1A325A08-B6CC-3E43-B2D9-D452A002884A}">
      <dgm:prSet/>
      <dgm:spPr/>
      <dgm:t>
        <a:bodyPr/>
        <a:lstStyle/>
        <a:p>
          <a:r>
            <a:rPr lang="en-US" altLang="zh-CN" dirty="0" err="1"/>
            <a:t>selectionMap</a:t>
          </a:r>
          <a:endParaRPr lang="zh-CN" altLang="en-US" dirty="0"/>
        </a:p>
      </dgm:t>
    </dgm:pt>
    <dgm:pt modelId="{4E3C54F7-82B6-F249-9298-4A23B4ECF232}" type="parTrans" cxnId="{75CBFFE9-7F72-9849-8E15-58C46D834EF4}">
      <dgm:prSet/>
      <dgm:spPr/>
      <dgm:t>
        <a:bodyPr/>
        <a:lstStyle/>
        <a:p>
          <a:endParaRPr lang="zh-CN" altLang="en-US"/>
        </a:p>
      </dgm:t>
    </dgm:pt>
    <dgm:pt modelId="{15786FE7-8184-DA4D-AF7E-F2342949C2C9}" type="sibTrans" cxnId="{75CBFFE9-7F72-9849-8E15-58C46D834EF4}">
      <dgm:prSet/>
      <dgm:spPr/>
      <dgm:t>
        <a:bodyPr/>
        <a:lstStyle/>
        <a:p>
          <a:endParaRPr lang="zh-CN" altLang="en-US"/>
        </a:p>
      </dgm:t>
    </dgm:pt>
    <dgm:pt modelId="{A909717B-2BEE-1D4F-B5BE-92E30215BA19}">
      <dgm:prSet/>
      <dgm:spPr/>
      <dgm:t>
        <a:bodyPr/>
        <a:lstStyle/>
        <a:p>
          <a:r>
            <a:rPr lang="en-US" altLang="zh-CN" dirty="0" err="1"/>
            <a:t>pedictReduce</a:t>
          </a:r>
          <a:endParaRPr lang="zh-CN" altLang="en-US" dirty="0"/>
        </a:p>
      </dgm:t>
    </dgm:pt>
    <dgm:pt modelId="{BB167E12-BB8C-5647-A96D-A24A554BCC42}" type="parTrans" cxnId="{306C71B2-1790-B94A-833A-3F2519632A11}">
      <dgm:prSet/>
      <dgm:spPr/>
      <dgm:t>
        <a:bodyPr/>
        <a:lstStyle/>
        <a:p>
          <a:endParaRPr lang="zh-CN" altLang="en-US"/>
        </a:p>
      </dgm:t>
    </dgm:pt>
    <dgm:pt modelId="{8A9DCB36-43EC-5440-8B0A-D7AADECF75D7}" type="sibTrans" cxnId="{306C71B2-1790-B94A-833A-3F2519632A11}">
      <dgm:prSet/>
      <dgm:spPr/>
      <dgm:t>
        <a:bodyPr/>
        <a:lstStyle/>
        <a:p>
          <a:endParaRPr lang="zh-CN" altLang="en-US"/>
        </a:p>
      </dgm:t>
    </dgm:pt>
    <dgm:pt modelId="{A6D99F2E-F3D7-0946-8FCB-E865361C24A8}">
      <dgm:prSet/>
      <dgm:spPr/>
      <dgm:t>
        <a:bodyPr/>
        <a:lstStyle/>
        <a:p>
          <a:r>
            <a:rPr lang="en-US" altLang="zh-CN" dirty="0" err="1"/>
            <a:t>selectReduce</a:t>
          </a:r>
          <a:endParaRPr lang="zh-CN" altLang="en-US" dirty="0"/>
        </a:p>
      </dgm:t>
    </dgm:pt>
    <dgm:pt modelId="{89F82E0C-BC49-D249-8A17-329B7FBD03B2}" type="parTrans" cxnId="{A5AB9A0A-B617-AE4D-9CCE-191A735C5AC6}">
      <dgm:prSet/>
      <dgm:spPr/>
      <dgm:t>
        <a:bodyPr/>
        <a:lstStyle/>
        <a:p>
          <a:endParaRPr lang="zh-CN" altLang="en-US"/>
        </a:p>
      </dgm:t>
    </dgm:pt>
    <dgm:pt modelId="{D803716E-A6BE-184B-9DCB-4B93C6049398}" type="sibTrans" cxnId="{A5AB9A0A-B617-AE4D-9CCE-191A735C5AC6}">
      <dgm:prSet/>
      <dgm:spPr/>
      <dgm:t>
        <a:bodyPr/>
        <a:lstStyle/>
        <a:p>
          <a:endParaRPr lang="zh-CN" altLang="en-US"/>
        </a:p>
      </dgm:t>
    </dgm:pt>
    <dgm:pt modelId="{4DCF0CEA-B3BE-5940-8065-CEA253B420CC}" type="pres">
      <dgm:prSet presAssocID="{8EA34546-A1D0-B94D-9DBB-7522482CD5D3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1A56B3B1-8224-364A-888A-5117C92B83E1}" type="pres">
      <dgm:prSet presAssocID="{4D5D00FA-759B-6243-AA8F-6760BE0545A7}" presName="root1" presStyleCnt="0"/>
      <dgm:spPr/>
    </dgm:pt>
    <dgm:pt modelId="{B192E104-8579-AB46-A394-F70F5C0DF32E}" type="pres">
      <dgm:prSet presAssocID="{4D5D00FA-759B-6243-AA8F-6760BE0545A7}" presName="LevelOneTextNode" presStyleLbl="node0" presStyleIdx="0" presStyleCnt="1">
        <dgm:presLayoutVars>
          <dgm:chPref val="3"/>
        </dgm:presLayoutVars>
      </dgm:prSet>
      <dgm:spPr/>
    </dgm:pt>
    <dgm:pt modelId="{3D1F1182-6BE9-FD42-B443-10ADD697A21D}" type="pres">
      <dgm:prSet presAssocID="{4D5D00FA-759B-6243-AA8F-6760BE0545A7}" presName="level2hierChild" presStyleCnt="0"/>
      <dgm:spPr/>
    </dgm:pt>
    <dgm:pt modelId="{72C5B1AE-FD13-5C47-B66D-F9DEEC293B02}" type="pres">
      <dgm:prSet presAssocID="{371D7F37-0A10-A047-A463-B231726FC87E}" presName="conn2-1" presStyleLbl="parChTrans1D2" presStyleIdx="0" presStyleCnt="3"/>
      <dgm:spPr/>
    </dgm:pt>
    <dgm:pt modelId="{58056A4F-06BF-7E43-A6CB-E764FC964D35}" type="pres">
      <dgm:prSet presAssocID="{371D7F37-0A10-A047-A463-B231726FC87E}" presName="connTx" presStyleLbl="parChTrans1D2" presStyleIdx="0" presStyleCnt="3"/>
      <dgm:spPr/>
    </dgm:pt>
    <dgm:pt modelId="{16D550A1-1F06-2741-AB26-4EA00B333964}" type="pres">
      <dgm:prSet presAssocID="{0AF248E3-5EC8-E341-AF2A-6D7F0F7EC6A5}" presName="root2" presStyleCnt="0"/>
      <dgm:spPr/>
    </dgm:pt>
    <dgm:pt modelId="{7832AD6D-7F4F-9042-B3F0-F50CE28487E2}" type="pres">
      <dgm:prSet presAssocID="{0AF248E3-5EC8-E341-AF2A-6D7F0F7EC6A5}" presName="LevelTwoTextNode" presStyleLbl="node2" presStyleIdx="0" presStyleCnt="3">
        <dgm:presLayoutVars>
          <dgm:chPref val="3"/>
        </dgm:presLayoutVars>
      </dgm:prSet>
      <dgm:spPr/>
    </dgm:pt>
    <dgm:pt modelId="{668819F3-6C0B-F043-8B13-B849E39C3E5D}" type="pres">
      <dgm:prSet presAssocID="{0AF248E3-5EC8-E341-AF2A-6D7F0F7EC6A5}" presName="level3hierChild" presStyleCnt="0"/>
      <dgm:spPr/>
    </dgm:pt>
    <dgm:pt modelId="{0BD635D4-01B1-DA42-9313-AE9568EA89DF}" type="pres">
      <dgm:prSet presAssocID="{38E30C8C-26C7-3540-96F8-C8C1F5D32913}" presName="conn2-1" presStyleLbl="parChTrans1D3" presStyleIdx="0" presStyleCnt="6"/>
      <dgm:spPr/>
    </dgm:pt>
    <dgm:pt modelId="{39B8692C-562A-764D-8F51-3A4F96B54EE0}" type="pres">
      <dgm:prSet presAssocID="{38E30C8C-26C7-3540-96F8-C8C1F5D32913}" presName="connTx" presStyleLbl="parChTrans1D3" presStyleIdx="0" presStyleCnt="6"/>
      <dgm:spPr/>
    </dgm:pt>
    <dgm:pt modelId="{DED8C150-52A7-8A4B-B4AA-214310CD44AE}" type="pres">
      <dgm:prSet presAssocID="{01E66327-E362-5548-AB0B-0F5B34606F79}" presName="root2" presStyleCnt="0"/>
      <dgm:spPr/>
    </dgm:pt>
    <dgm:pt modelId="{8FBFA7F7-660A-4846-8F9C-439456DE34E3}" type="pres">
      <dgm:prSet presAssocID="{01E66327-E362-5548-AB0B-0F5B34606F79}" presName="LevelTwoTextNode" presStyleLbl="node3" presStyleIdx="0" presStyleCnt="6">
        <dgm:presLayoutVars>
          <dgm:chPref val="3"/>
        </dgm:presLayoutVars>
      </dgm:prSet>
      <dgm:spPr/>
    </dgm:pt>
    <dgm:pt modelId="{F80C5AFA-FCA2-964C-9C09-0B629DB703A5}" type="pres">
      <dgm:prSet presAssocID="{01E66327-E362-5548-AB0B-0F5B34606F79}" presName="level3hierChild" presStyleCnt="0"/>
      <dgm:spPr/>
    </dgm:pt>
    <dgm:pt modelId="{E3223961-1B3F-8349-B714-8FE6671484FB}" type="pres">
      <dgm:prSet presAssocID="{566F7D64-E293-B74B-BFC6-DCA41704DAAD}" presName="conn2-1" presStyleLbl="parChTrans1D3" presStyleIdx="1" presStyleCnt="6"/>
      <dgm:spPr/>
    </dgm:pt>
    <dgm:pt modelId="{DF8606F9-E635-DD4B-A662-0ED12FC4D7F2}" type="pres">
      <dgm:prSet presAssocID="{566F7D64-E293-B74B-BFC6-DCA41704DAAD}" presName="connTx" presStyleLbl="parChTrans1D3" presStyleIdx="1" presStyleCnt="6"/>
      <dgm:spPr/>
    </dgm:pt>
    <dgm:pt modelId="{F7577C81-2727-5B41-AABB-050F413B652C}" type="pres">
      <dgm:prSet presAssocID="{7C4783A3-3759-D344-A802-F77CADE31125}" presName="root2" presStyleCnt="0"/>
      <dgm:spPr/>
    </dgm:pt>
    <dgm:pt modelId="{6338305F-9D38-BD4D-A495-08BE9A9BF3FB}" type="pres">
      <dgm:prSet presAssocID="{7C4783A3-3759-D344-A802-F77CADE31125}" presName="LevelTwoTextNode" presStyleLbl="node3" presStyleIdx="1" presStyleCnt="6">
        <dgm:presLayoutVars>
          <dgm:chPref val="3"/>
        </dgm:presLayoutVars>
      </dgm:prSet>
      <dgm:spPr/>
    </dgm:pt>
    <dgm:pt modelId="{6EFB8F6F-7B5D-CA41-86BA-013D81662B41}" type="pres">
      <dgm:prSet presAssocID="{7C4783A3-3759-D344-A802-F77CADE31125}" presName="level3hierChild" presStyleCnt="0"/>
      <dgm:spPr/>
    </dgm:pt>
    <dgm:pt modelId="{98F254CE-22E6-2144-AD03-78EC8D5A44B3}" type="pres">
      <dgm:prSet presAssocID="{4EC4F929-C80E-EC4A-976C-EF78D4670DBF}" presName="conn2-1" presStyleLbl="parChTrans1D2" presStyleIdx="1" presStyleCnt="3"/>
      <dgm:spPr/>
    </dgm:pt>
    <dgm:pt modelId="{B3699393-18EE-FC4D-AB6D-31186F7A7763}" type="pres">
      <dgm:prSet presAssocID="{4EC4F929-C80E-EC4A-976C-EF78D4670DBF}" presName="connTx" presStyleLbl="parChTrans1D2" presStyleIdx="1" presStyleCnt="3"/>
      <dgm:spPr/>
    </dgm:pt>
    <dgm:pt modelId="{2D6530D1-B782-FA44-8BD1-FBB9E2346B2B}" type="pres">
      <dgm:prSet presAssocID="{E6B064E2-70D4-3244-9841-744AB1531059}" presName="root2" presStyleCnt="0"/>
      <dgm:spPr/>
    </dgm:pt>
    <dgm:pt modelId="{CA2ECB99-A0F7-9345-8C16-4644667EB24E}" type="pres">
      <dgm:prSet presAssocID="{E6B064E2-70D4-3244-9841-744AB1531059}" presName="LevelTwoTextNode" presStyleLbl="node2" presStyleIdx="1" presStyleCnt="3">
        <dgm:presLayoutVars>
          <dgm:chPref val="3"/>
        </dgm:presLayoutVars>
      </dgm:prSet>
      <dgm:spPr/>
    </dgm:pt>
    <dgm:pt modelId="{6FAD8FEB-A21F-4549-9412-02A97490BDB4}" type="pres">
      <dgm:prSet presAssocID="{E6B064E2-70D4-3244-9841-744AB1531059}" presName="level3hierChild" presStyleCnt="0"/>
      <dgm:spPr/>
    </dgm:pt>
    <dgm:pt modelId="{1EFD0A1A-D27D-E541-AED0-2D1C334830FB}" type="pres">
      <dgm:prSet presAssocID="{142BD46F-D556-6D48-8778-EA99A260F1D2}" presName="conn2-1" presStyleLbl="parChTrans1D3" presStyleIdx="2" presStyleCnt="6"/>
      <dgm:spPr/>
    </dgm:pt>
    <dgm:pt modelId="{7D626313-EBFF-E84B-B35F-CD893468DA83}" type="pres">
      <dgm:prSet presAssocID="{142BD46F-D556-6D48-8778-EA99A260F1D2}" presName="connTx" presStyleLbl="parChTrans1D3" presStyleIdx="2" presStyleCnt="6"/>
      <dgm:spPr/>
    </dgm:pt>
    <dgm:pt modelId="{16B8DE1F-B15D-B44D-A62F-93AFAA2DEC1B}" type="pres">
      <dgm:prSet presAssocID="{4CD53C6F-9B33-EB40-94D6-4902D3261396}" presName="root2" presStyleCnt="0"/>
      <dgm:spPr/>
    </dgm:pt>
    <dgm:pt modelId="{65AD9E1E-ECEA-B74E-B3AE-103896DD457E}" type="pres">
      <dgm:prSet presAssocID="{4CD53C6F-9B33-EB40-94D6-4902D3261396}" presName="LevelTwoTextNode" presStyleLbl="node3" presStyleIdx="2" presStyleCnt="6">
        <dgm:presLayoutVars>
          <dgm:chPref val="3"/>
        </dgm:presLayoutVars>
      </dgm:prSet>
      <dgm:spPr/>
    </dgm:pt>
    <dgm:pt modelId="{A2A0D018-2121-BB4B-AD4E-49DC9B2B0FC6}" type="pres">
      <dgm:prSet presAssocID="{4CD53C6F-9B33-EB40-94D6-4902D3261396}" presName="level3hierChild" presStyleCnt="0"/>
      <dgm:spPr/>
    </dgm:pt>
    <dgm:pt modelId="{680CAD34-D5CA-3C40-AFB8-1C9379A729A6}" type="pres">
      <dgm:prSet presAssocID="{BB167E12-BB8C-5647-A96D-A24A554BCC42}" presName="conn2-1" presStyleLbl="parChTrans1D3" presStyleIdx="3" presStyleCnt="6"/>
      <dgm:spPr/>
    </dgm:pt>
    <dgm:pt modelId="{A3835A5C-901D-3D45-BF9D-F9EEF7D6DE9B}" type="pres">
      <dgm:prSet presAssocID="{BB167E12-BB8C-5647-A96D-A24A554BCC42}" presName="connTx" presStyleLbl="parChTrans1D3" presStyleIdx="3" presStyleCnt="6"/>
      <dgm:spPr/>
    </dgm:pt>
    <dgm:pt modelId="{94F25148-D00B-4041-8898-B94F4124FB4E}" type="pres">
      <dgm:prSet presAssocID="{A909717B-2BEE-1D4F-B5BE-92E30215BA19}" presName="root2" presStyleCnt="0"/>
      <dgm:spPr/>
    </dgm:pt>
    <dgm:pt modelId="{561C601D-F912-4146-A5C5-94A00EBE806D}" type="pres">
      <dgm:prSet presAssocID="{A909717B-2BEE-1D4F-B5BE-92E30215BA19}" presName="LevelTwoTextNode" presStyleLbl="node3" presStyleIdx="3" presStyleCnt="6">
        <dgm:presLayoutVars>
          <dgm:chPref val="3"/>
        </dgm:presLayoutVars>
      </dgm:prSet>
      <dgm:spPr/>
    </dgm:pt>
    <dgm:pt modelId="{3369AED9-A719-C041-9AC4-0C234A3647FE}" type="pres">
      <dgm:prSet presAssocID="{A909717B-2BEE-1D4F-B5BE-92E30215BA19}" presName="level3hierChild" presStyleCnt="0"/>
      <dgm:spPr/>
    </dgm:pt>
    <dgm:pt modelId="{DF044D07-0F0B-2845-AD58-1A4E16EC969A}" type="pres">
      <dgm:prSet presAssocID="{CEFCDC34-1159-FA4E-994C-46F5AF3D258A}" presName="conn2-1" presStyleLbl="parChTrans1D2" presStyleIdx="2" presStyleCnt="3"/>
      <dgm:spPr/>
    </dgm:pt>
    <dgm:pt modelId="{A2A19601-2416-A146-B568-3B6E60D566ED}" type="pres">
      <dgm:prSet presAssocID="{CEFCDC34-1159-FA4E-994C-46F5AF3D258A}" presName="connTx" presStyleLbl="parChTrans1D2" presStyleIdx="2" presStyleCnt="3"/>
      <dgm:spPr/>
    </dgm:pt>
    <dgm:pt modelId="{C069D992-7316-DD43-A4EA-D0F18BD21622}" type="pres">
      <dgm:prSet presAssocID="{22EA2142-34D3-4546-B583-B32C99A0A343}" presName="root2" presStyleCnt="0"/>
      <dgm:spPr/>
    </dgm:pt>
    <dgm:pt modelId="{82638959-D248-B54C-A1C0-48A9D7EC2E2F}" type="pres">
      <dgm:prSet presAssocID="{22EA2142-34D3-4546-B583-B32C99A0A343}" presName="LevelTwoTextNode" presStyleLbl="node2" presStyleIdx="2" presStyleCnt="3">
        <dgm:presLayoutVars>
          <dgm:chPref val="3"/>
        </dgm:presLayoutVars>
      </dgm:prSet>
      <dgm:spPr/>
    </dgm:pt>
    <dgm:pt modelId="{382B8C90-5517-7249-BCD4-69408732BAC5}" type="pres">
      <dgm:prSet presAssocID="{22EA2142-34D3-4546-B583-B32C99A0A343}" presName="level3hierChild" presStyleCnt="0"/>
      <dgm:spPr/>
    </dgm:pt>
    <dgm:pt modelId="{3B93E7E8-46AE-1441-8DDA-C38311A4764F}" type="pres">
      <dgm:prSet presAssocID="{4E3C54F7-82B6-F249-9298-4A23B4ECF232}" presName="conn2-1" presStyleLbl="parChTrans1D3" presStyleIdx="4" presStyleCnt="6"/>
      <dgm:spPr/>
    </dgm:pt>
    <dgm:pt modelId="{3DF6D3F6-235B-3B4B-A2C6-020D9DC09F80}" type="pres">
      <dgm:prSet presAssocID="{4E3C54F7-82B6-F249-9298-4A23B4ECF232}" presName="connTx" presStyleLbl="parChTrans1D3" presStyleIdx="4" presStyleCnt="6"/>
      <dgm:spPr/>
    </dgm:pt>
    <dgm:pt modelId="{8E981EB5-1BE9-B144-8C12-A4928632F7E7}" type="pres">
      <dgm:prSet presAssocID="{1A325A08-B6CC-3E43-B2D9-D452A002884A}" presName="root2" presStyleCnt="0"/>
      <dgm:spPr/>
    </dgm:pt>
    <dgm:pt modelId="{487C09B6-B3B0-8C44-A727-93012690FE2F}" type="pres">
      <dgm:prSet presAssocID="{1A325A08-B6CC-3E43-B2D9-D452A002884A}" presName="LevelTwoTextNode" presStyleLbl="node3" presStyleIdx="4" presStyleCnt="6">
        <dgm:presLayoutVars>
          <dgm:chPref val="3"/>
        </dgm:presLayoutVars>
      </dgm:prSet>
      <dgm:spPr/>
    </dgm:pt>
    <dgm:pt modelId="{1EA7C485-9B37-5C47-886C-FF68D3C18F6F}" type="pres">
      <dgm:prSet presAssocID="{1A325A08-B6CC-3E43-B2D9-D452A002884A}" presName="level3hierChild" presStyleCnt="0"/>
      <dgm:spPr/>
    </dgm:pt>
    <dgm:pt modelId="{EF7733FC-44B1-6F41-A0B7-DEC427D53933}" type="pres">
      <dgm:prSet presAssocID="{89F82E0C-BC49-D249-8A17-329B7FBD03B2}" presName="conn2-1" presStyleLbl="parChTrans1D3" presStyleIdx="5" presStyleCnt="6"/>
      <dgm:spPr/>
    </dgm:pt>
    <dgm:pt modelId="{5350BB71-C702-BA4E-8137-0434403EAFD7}" type="pres">
      <dgm:prSet presAssocID="{89F82E0C-BC49-D249-8A17-329B7FBD03B2}" presName="connTx" presStyleLbl="parChTrans1D3" presStyleIdx="5" presStyleCnt="6"/>
      <dgm:spPr/>
    </dgm:pt>
    <dgm:pt modelId="{4AD5B180-DEB3-F943-913A-7552419C2006}" type="pres">
      <dgm:prSet presAssocID="{A6D99F2E-F3D7-0946-8FCB-E865361C24A8}" presName="root2" presStyleCnt="0"/>
      <dgm:spPr/>
    </dgm:pt>
    <dgm:pt modelId="{6ED483F0-3B8C-4541-B870-41A462560624}" type="pres">
      <dgm:prSet presAssocID="{A6D99F2E-F3D7-0946-8FCB-E865361C24A8}" presName="LevelTwoTextNode" presStyleLbl="node3" presStyleIdx="5" presStyleCnt="6">
        <dgm:presLayoutVars>
          <dgm:chPref val="3"/>
        </dgm:presLayoutVars>
      </dgm:prSet>
      <dgm:spPr/>
    </dgm:pt>
    <dgm:pt modelId="{902C57F9-8F3A-FB40-B389-3E44540CF957}" type="pres">
      <dgm:prSet presAssocID="{A6D99F2E-F3D7-0946-8FCB-E865361C24A8}" presName="level3hierChild" presStyleCnt="0"/>
      <dgm:spPr/>
    </dgm:pt>
  </dgm:ptLst>
  <dgm:cxnLst>
    <dgm:cxn modelId="{DF124905-904A-0E49-9AF2-BBDA8A2F095D}" type="presOf" srcId="{CEFCDC34-1159-FA4E-994C-46F5AF3D258A}" destId="{DF044D07-0F0B-2845-AD58-1A4E16EC969A}" srcOrd="0" destOrd="0" presId="urn:microsoft.com/office/officeart/2005/8/layout/hierarchy2"/>
    <dgm:cxn modelId="{A5AB9A0A-B617-AE4D-9CCE-191A735C5AC6}" srcId="{22EA2142-34D3-4546-B583-B32C99A0A343}" destId="{A6D99F2E-F3D7-0946-8FCB-E865361C24A8}" srcOrd="1" destOrd="0" parTransId="{89F82E0C-BC49-D249-8A17-329B7FBD03B2}" sibTransId="{D803716E-A6BE-184B-9DCB-4B93C6049398}"/>
    <dgm:cxn modelId="{57CDBE18-7F89-4540-BECA-ECAD75BE552C}" type="presOf" srcId="{4D5D00FA-759B-6243-AA8F-6760BE0545A7}" destId="{B192E104-8579-AB46-A394-F70F5C0DF32E}" srcOrd="0" destOrd="0" presId="urn:microsoft.com/office/officeart/2005/8/layout/hierarchy2"/>
    <dgm:cxn modelId="{8CD09929-6BEB-DA49-A008-2709F2D95A35}" type="presOf" srcId="{A909717B-2BEE-1D4F-B5BE-92E30215BA19}" destId="{561C601D-F912-4146-A5C5-94A00EBE806D}" srcOrd="0" destOrd="0" presId="urn:microsoft.com/office/officeart/2005/8/layout/hierarchy2"/>
    <dgm:cxn modelId="{65F0682C-7356-F143-90F1-763631686B85}" srcId="{4D5D00FA-759B-6243-AA8F-6760BE0545A7}" destId="{E6B064E2-70D4-3244-9841-744AB1531059}" srcOrd="1" destOrd="0" parTransId="{4EC4F929-C80E-EC4A-976C-EF78D4670DBF}" sibTransId="{2B011C6B-BE08-3249-ACE0-7E3BCC136F6D}"/>
    <dgm:cxn modelId="{6EC80B33-6F6B-384F-9CF3-BDAB29EF3022}" srcId="{8EA34546-A1D0-B94D-9DBB-7522482CD5D3}" destId="{4D5D00FA-759B-6243-AA8F-6760BE0545A7}" srcOrd="0" destOrd="0" parTransId="{8FD35A8E-40EB-084A-94EF-25D78301D7CF}" sibTransId="{4B3FECB9-74B4-7643-864D-3433DC63647D}"/>
    <dgm:cxn modelId="{BE3F5F34-087C-734B-AF47-C44507F1D4B4}" type="presOf" srcId="{38E30C8C-26C7-3540-96F8-C8C1F5D32913}" destId="{39B8692C-562A-764D-8F51-3A4F96B54EE0}" srcOrd="1" destOrd="0" presId="urn:microsoft.com/office/officeart/2005/8/layout/hierarchy2"/>
    <dgm:cxn modelId="{B0D75E35-4745-E241-8DB7-5035F4EC057D}" type="presOf" srcId="{BB167E12-BB8C-5647-A96D-A24A554BCC42}" destId="{680CAD34-D5CA-3C40-AFB8-1C9379A729A6}" srcOrd="0" destOrd="0" presId="urn:microsoft.com/office/officeart/2005/8/layout/hierarchy2"/>
    <dgm:cxn modelId="{8963A236-A5E3-AF44-9644-D98EB957891E}" type="presOf" srcId="{E6B064E2-70D4-3244-9841-744AB1531059}" destId="{CA2ECB99-A0F7-9345-8C16-4644667EB24E}" srcOrd="0" destOrd="0" presId="urn:microsoft.com/office/officeart/2005/8/layout/hierarchy2"/>
    <dgm:cxn modelId="{77233D3F-9775-C64E-8647-E30BF4516896}" type="presOf" srcId="{89F82E0C-BC49-D249-8A17-329B7FBD03B2}" destId="{5350BB71-C702-BA4E-8137-0434403EAFD7}" srcOrd="1" destOrd="0" presId="urn:microsoft.com/office/officeart/2005/8/layout/hierarchy2"/>
    <dgm:cxn modelId="{5F928F57-F56F-E64E-B3CE-12D177F7961C}" type="presOf" srcId="{22EA2142-34D3-4546-B583-B32C99A0A343}" destId="{82638959-D248-B54C-A1C0-48A9D7EC2E2F}" srcOrd="0" destOrd="0" presId="urn:microsoft.com/office/officeart/2005/8/layout/hierarchy2"/>
    <dgm:cxn modelId="{A7CA765A-A320-AF4C-B782-4DE70958869F}" type="presOf" srcId="{BB167E12-BB8C-5647-A96D-A24A554BCC42}" destId="{A3835A5C-901D-3D45-BF9D-F9EEF7D6DE9B}" srcOrd="1" destOrd="0" presId="urn:microsoft.com/office/officeart/2005/8/layout/hierarchy2"/>
    <dgm:cxn modelId="{FEB1E95E-5281-DF41-8757-4AE3098C6DBA}" type="presOf" srcId="{371D7F37-0A10-A047-A463-B231726FC87E}" destId="{72C5B1AE-FD13-5C47-B66D-F9DEEC293B02}" srcOrd="0" destOrd="0" presId="urn:microsoft.com/office/officeart/2005/8/layout/hierarchy2"/>
    <dgm:cxn modelId="{85E2246E-4478-CA4D-8B6B-260CD5AD2E85}" type="presOf" srcId="{8EA34546-A1D0-B94D-9DBB-7522482CD5D3}" destId="{4DCF0CEA-B3BE-5940-8065-CEA253B420CC}" srcOrd="0" destOrd="0" presId="urn:microsoft.com/office/officeart/2005/8/layout/hierarchy2"/>
    <dgm:cxn modelId="{9F078675-EAE0-D24C-8E48-4B57EF945DE2}" srcId="{0AF248E3-5EC8-E341-AF2A-6D7F0F7EC6A5}" destId="{01E66327-E362-5548-AB0B-0F5B34606F79}" srcOrd="0" destOrd="0" parTransId="{38E30C8C-26C7-3540-96F8-C8C1F5D32913}" sibTransId="{2CA37395-96EE-B245-836A-0EAB2B543237}"/>
    <dgm:cxn modelId="{7E00587B-9146-9542-B28A-31BF293E3DC3}" type="presOf" srcId="{371D7F37-0A10-A047-A463-B231726FC87E}" destId="{58056A4F-06BF-7E43-A6CB-E764FC964D35}" srcOrd="1" destOrd="0" presId="urn:microsoft.com/office/officeart/2005/8/layout/hierarchy2"/>
    <dgm:cxn modelId="{14368480-1CA6-2447-83B6-7AF8890C7461}" srcId="{4D5D00FA-759B-6243-AA8F-6760BE0545A7}" destId="{22EA2142-34D3-4546-B583-B32C99A0A343}" srcOrd="2" destOrd="0" parTransId="{CEFCDC34-1159-FA4E-994C-46F5AF3D258A}" sibTransId="{BAA779C7-DCAC-0848-9E82-40304C9676AD}"/>
    <dgm:cxn modelId="{174CD187-7283-C943-9336-7BA176627FAD}" type="presOf" srcId="{01E66327-E362-5548-AB0B-0F5B34606F79}" destId="{8FBFA7F7-660A-4846-8F9C-439456DE34E3}" srcOrd="0" destOrd="0" presId="urn:microsoft.com/office/officeart/2005/8/layout/hierarchy2"/>
    <dgm:cxn modelId="{805D2E8A-0E5A-0F44-BFF7-68E41B08C4DE}" srcId="{0AF248E3-5EC8-E341-AF2A-6D7F0F7EC6A5}" destId="{7C4783A3-3759-D344-A802-F77CADE31125}" srcOrd="1" destOrd="0" parTransId="{566F7D64-E293-B74B-BFC6-DCA41704DAAD}" sibTransId="{3F74F6D7-1D8A-C94B-9076-8799EEA04C7B}"/>
    <dgm:cxn modelId="{C9C03C9F-A81C-4C4A-97F9-4487EA94E4D6}" type="presOf" srcId="{A6D99F2E-F3D7-0946-8FCB-E865361C24A8}" destId="{6ED483F0-3B8C-4541-B870-41A462560624}" srcOrd="0" destOrd="0" presId="urn:microsoft.com/office/officeart/2005/8/layout/hierarchy2"/>
    <dgm:cxn modelId="{EBB6FCAC-2FAC-F24D-9EB2-DAF1FBC361D6}" type="presOf" srcId="{566F7D64-E293-B74B-BFC6-DCA41704DAAD}" destId="{DF8606F9-E635-DD4B-A662-0ED12FC4D7F2}" srcOrd="1" destOrd="0" presId="urn:microsoft.com/office/officeart/2005/8/layout/hierarchy2"/>
    <dgm:cxn modelId="{D5CF40AF-DFB0-7042-8C48-24E91530F7F3}" type="presOf" srcId="{4EC4F929-C80E-EC4A-976C-EF78D4670DBF}" destId="{98F254CE-22E6-2144-AD03-78EC8D5A44B3}" srcOrd="0" destOrd="0" presId="urn:microsoft.com/office/officeart/2005/8/layout/hierarchy2"/>
    <dgm:cxn modelId="{306C71B2-1790-B94A-833A-3F2519632A11}" srcId="{E6B064E2-70D4-3244-9841-744AB1531059}" destId="{A909717B-2BEE-1D4F-B5BE-92E30215BA19}" srcOrd="1" destOrd="0" parTransId="{BB167E12-BB8C-5647-A96D-A24A554BCC42}" sibTransId="{8A9DCB36-43EC-5440-8B0A-D7AADECF75D7}"/>
    <dgm:cxn modelId="{06EC97C0-B8FF-5841-B28B-9E1CFF6B31DE}" type="presOf" srcId="{0AF248E3-5EC8-E341-AF2A-6D7F0F7EC6A5}" destId="{7832AD6D-7F4F-9042-B3F0-F50CE28487E2}" srcOrd="0" destOrd="0" presId="urn:microsoft.com/office/officeart/2005/8/layout/hierarchy2"/>
    <dgm:cxn modelId="{59EF97C6-83B1-C14D-B4B6-F9D507FF9888}" type="presOf" srcId="{142BD46F-D556-6D48-8778-EA99A260F1D2}" destId="{1EFD0A1A-D27D-E541-AED0-2D1C334830FB}" srcOrd="0" destOrd="0" presId="urn:microsoft.com/office/officeart/2005/8/layout/hierarchy2"/>
    <dgm:cxn modelId="{3D5DF7CB-31AC-704E-9D6F-0C295D7D9D42}" type="presOf" srcId="{CEFCDC34-1159-FA4E-994C-46F5AF3D258A}" destId="{A2A19601-2416-A146-B568-3B6E60D566ED}" srcOrd="1" destOrd="0" presId="urn:microsoft.com/office/officeart/2005/8/layout/hierarchy2"/>
    <dgm:cxn modelId="{F3F6DCCC-4187-2640-A0BA-3942D6759B2E}" type="presOf" srcId="{142BD46F-D556-6D48-8778-EA99A260F1D2}" destId="{7D626313-EBFF-E84B-B35F-CD893468DA83}" srcOrd="1" destOrd="0" presId="urn:microsoft.com/office/officeart/2005/8/layout/hierarchy2"/>
    <dgm:cxn modelId="{B150D3DA-9993-764F-90F1-53D5C8B0E534}" type="presOf" srcId="{4EC4F929-C80E-EC4A-976C-EF78D4670DBF}" destId="{B3699393-18EE-FC4D-AB6D-31186F7A7763}" srcOrd="1" destOrd="0" presId="urn:microsoft.com/office/officeart/2005/8/layout/hierarchy2"/>
    <dgm:cxn modelId="{B8E43BDF-C3D1-CA40-823D-DF84135A2473}" type="presOf" srcId="{566F7D64-E293-B74B-BFC6-DCA41704DAAD}" destId="{E3223961-1B3F-8349-B714-8FE6671484FB}" srcOrd="0" destOrd="0" presId="urn:microsoft.com/office/officeart/2005/8/layout/hierarchy2"/>
    <dgm:cxn modelId="{0BEFC1DF-C827-364C-A5F2-BEC636799149}" srcId="{4D5D00FA-759B-6243-AA8F-6760BE0545A7}" destId="{0AF248E3-5EC8-E341-AF2A-6D7F0F7EC6A5}" srcOrd="0" destOrd="0" parTransId="{371D7F37-0A10-A047-A463-B231726FC87E}" sibTransId="{B3F294B2-3FEC-B14E-AAB4-658CA9388A9F}"/>
    <dgm:cxn modelId="{76DCA7E1-9620-1945-BB60-0181B81DC635}" type="presOf" srcId="{4CD53C6F-9B33-EB40-94D6-4902D3261396}" destId="{65AD9E1E-ECEA-B74E-B3AE-103896DD457E}" srcOrd="0" destOrd="0" presId="urn:microsoft.com/office/officeart/2005/8/layout/hierarchy2"/>
    <dgm:cxn modelId="{EE93E9E4-FD49-C947-8F22-4B9FC700D62B}" type="presOf" srcId="{4E3C54F7-82B6-F249-9298-4A23B4ECF232}" destId="{3DF6D3F6-235B-3B4B-A2C6-020D9DC09F80}" srcOrd="1" destOrd="0" presId="urn:microsoft.com/office/officeart/2005/8/layout/hierarchy2"/>
    <dgm:cxn modelId="{75CBFFE9-7F72-9849-8E15-58C46D834EF4}" srcId="{22EA2142-34D3-4546-B583-B32C99A0A343}" destId="{1A325A08-B6CC-3E43-B2D9-D452A002884A}" srcOrd="0" destOrd="0" parTransId="{4E3C54F7-82B6-F249-9298-4A23B4ECF232}" sibTransId="{15786FE7-8184-DA4D-AF7E-F2342949C2C9}"/>
    <dgm:cxn modelId="{F15DC3EB-1DBD-394B-9953-5F9F4D004147}" type="presOf" srcId="{89F82E0C-BC49-D249-8A17-329B7FBD03B2}" destId="{EF7733FC-44B1-6F41-A0B7-DEC427D53933}" srcOrd="0" destOrd="0" presId="urn:microsoft.com/office/officeart/2005/8/layout/hierarchy2"/>
    <dgm:cxn modelId="{ABBF81EC-04DE-0144-BC13-6419255ED12B}" type="presOf" srcId="{1A325A08-B6CC-3E43-B2D9-D452A002884A}" destId="{487C09B6-B3B0-8C44-A727-93012690FE2F}" srcOrd="0" destOrd="0" presId="urn:microsoft.com/office/officeart/2005/8/layout/hierarchy2"/>
    <dgm:cxn modelId="{C82C8FEF-10C1-2641-A1E1-23A00E1316B7}" type="presOf" srcId="{7C4783A3-3759-D344-A802-F77CADE31125}" destId="{6338305F-9D38-BD4D-A495-08BE9A9BF3FB}" srcOrd="0" destOrd="0" presId="urn:microsoft.com/office/officeart/2005/8/layout/hierarchy2"/>
    <dgm:cxn modelId="{D3C2D3F3-70E4-DC4B-A570-7856C6BADEF6}" type="presOf" srcId="{4E3C54F7-82B6-F249-9298-4A23B4ECF232}" destId="{3B93E7E8-46AE-1441-8DDA-C38311A4764F}" srcOrd="0" destOrd="0" presId="urn:microsoft.com/office/officeart/2005/8/layout/hierarchy2"/>
    <dgm:cxn modelId="{090C33F7-F312-EF4A-BF92-0580ECD02035}" srcId="{E6B064E2-70D4-3244-9841-744AB1531059}" destId="{4CD53C6F-9B33-EB40-94D6-4902D3261396}" srcOrd="0" destOrd="0" parTransId="{142BD46F-D556-6D48-8778-EA99A260F1D2}" sibTransId="{7661C4F0-B51B-BB41-BAA7-54B330ECC97A}"/>
    <dgm:cxn modelId="{0E0943FA-EE84-C14A-86F4-59DDB5579DBE}" type="presOf" srcId="{38E30C8C-26C7-3540-96F8-C8C1F5D32913}" destId="{0BD635D4-01B1-DA42-9313-AE9568EA89DF}" srcOrd="0" destOrd="0" presId="urn:microsoft.com/office/officeart/2005/8/layout/hierarchy2"/>
    <dgm:cxn modelId="{BB3A25B4-D5B9-D049-85C7-E468227690BE}" type="presParOf" srcId="{4DCF0CEA-B3BE-5940-8065-CEA253B420CC}" destId="{1A56B3B1-8224-364A-888A-5117C92B83E1}" srcOrd="0" destOrd="0" presId="urn:microsoft.com/office/officeart/2005/8/layout/hierarchy2"/>
    <dgm:cxn modelId="{71E79770-F963-4C49-8FFE-6A4ED2579D47}" type="presParOf" srcId="{1A56B3B1-8224-364A-888A-5117C92B83E1}" destId="{B192E104-8579-AB46-A394-F70F5C0DF32E}" srcOrd="0" destOrd="0" presId="urn:microsoft.com/office/officeart/2005/8/layout/hierarchy2"/>
    <dgm:cxn modelId="{EBA8E26E-F2AA-D944-A5D6-237C14127FD5}" type="presParOf" srcId="{1A56B3B1-8224-364A-888A-5117C92B83E1}" destId="{3D1F1182-6BE9-FD42-B443-10ADD697A21D}" srcOrd="1" destOrd="0" presId="urn:microsoft.com/office/officeart/2005/8/layout/hierarchy2"/>
    <dgm:cxn modelId="{FE708E42-B621-E54F-92DF-578FAEEAFE2F}" type="presParOf" srcId="{3D1F1182-6BE9-FD42-B443-10ADD697A21D}" destId="{72C5B1AE-FD13-5C47-B66D-F9DEEC293B02}" srcOrd="0" destOrd="0" presId="urn:microsoft.com/office/officeart/2005/8/layout/hierarchy2"/>
    <dgm:cxn modelId="{C0DDDA86-A88D-C04A-A98E-88C1716FC710}" type="presParOf" srcId="{72C5B1AE-FD13-5C47-B66D-F9DEEC293B02}" destId="{58056A4F-06BF-7E43-A6CB-E764FC964D35}" srcOrd="0" destOrd="0" presId="urn:microsoft.com/office/officeart/2005/8/layout/hierarchy2"/>
    <dgm:cxn modelId="{A8CE80F1-B4B6-554C-87A3-C63E85F47145}" type="presParOf" srcId="{3D1F1182-6BE9-FD42-B443-10ADD697A21D}" destId="{16D550A1-1F06-2741-AB26-4EA00B333964}" srcOrd="1" destOrd="0" presId="urn:microsoft.com/office/officeart/2005/8/layout/hierarchy2"/>
    <dgm:cxn modelId="{601A4A0D-057E-1C4B-93D1-9E1A618BC02D}" type="presParOf" srcId="{16D550A1-1F06-2741-AB26-4EA00B333964}" destId="{7832AD6D-7F4F-9042-B3F0-F50CE28487E2}" srcOrd="0" destOrd="0" presId="urn:microsoft.com/office/officeart/2005/8/layout/hierarchy2"/>
    <dgm:cxn modelId="{DB61FC9F-74E0-8241-AB42-E57838E514D2}" type="presParOf" srcId="{16D550A1-1F06-2741-AB26-4EA00B333964}" destId="{668819F3-6C0B-F043-8B13-B849E39C3E5D}" srcOrd="1" destOrd="0" presId="urn:microsoft.com/office/officeart/2005/8/layout/hierarchy2"/>
    <dgm:cxn modelId="{60C79CF2-640E-1F4A-A2C1-0CEF2B6A57EE}" type="presParOf" srcId="{668819F3-6C0B-F043-8B13-B849E39C3E5D}" destId="{0BD635D4-01B1-DA42-9313-AE9568EA89DF}" srcOrd="0" destOrd="0" presId="urn:microsoft.com/office/officeart/2005/8/layout/hierarchy2"/>
    <dgm:cxn modelId="{F6784770-F0AE-DA4A-BE38-47A402822EC6}" type="presParOf" srcId="{0BD635D4-01B1-DA42-9313-AE9568EA89DF}" destId="{39B8692C-562A-764D-8F51-3A4F96B54EE0}" srcOrd="0" destOrd="0" presId="urn:microsoft.com/office/officeart/2005/8/layout/hierarchy2"/>
    <dgm:cxn modelId="{F54FC38B-31EF-B94F-88B8-971526F94322}" type="presParOf" srcId="{668819F3-6C0B-F043-8B13-B849E39C3E5D}" destId="{DED8C150-52A7-8A4B-B4AA-214310CD44AE}" srcOrd="1" destOrd="0" presId="urn:microsoft.com/office/officeart/2005/8/layout/hierarchy2"/>
    <dgm:cxn modelId="{BD2B26F9-87F4-0446-AFD2-D226A4853C99}" type="presParOf" srcId="{DED8C150-52A7-8A4B-B4AA-214310CD44AE}" destId="{8FBFA7F7-660A-4846-8F9C-439456DE34E3}" srcOrd="0" destOrd="0" presId="urn:microsoft.com/office/officeart/2005/8/layout/hierarchy2"/>
    <dgm:cxn modelId="{44273F25-7F19-9D45-A315-0A8F4092D284}" type="presParOf" srcId="{DED8C150-52A7-8A4B-B4AA-214310CD44AE}" destId="{F80C5AFA-FCA2-964C-9C09-0B629DB703A5}" srcOrd="1" destOrd="0" presId="urn:microsoft.com/office/officeart/2005/8/layout/hierarchy2"/>
    <dgm:cxn modelId="{517B82DB-2A2F-224B-A59C-FF8C86D2080A}" type="presParOf" srcId="{668819F3-6C0B-F043-8B13-B849E39C3E5D}" destId="{E3223961-1B3F-8349-B714-8FE6671484FB}" srcOrd="2" destOrd="0" presId="urn:microsoft.com/office/officeart/2005/8/layout/hierarchy2"/>
    <dgm:cxn modelId="{C6CA3CB5-7ED3-5040-A8F5-D8D1DA6C2C05}" type="presParOf" srcId="{E3223961-1B3F-8349-B714-8FE6671484FB}" destId="{DF8606F9-E635-DD4B-A662-0ED12FC4D7F2}" srcOrd="0" destOrd="0" presId="urn:microsoft.com/office/officeart/2005/8/layout/hierarchy2"/>
    <dgm:cxn modelId="{3C89FE95-CCDE-4D47-BC23-4AA7A00CCC22}" type="presParOf" srcId="{668819F3-6C0B-F043-8B13-B849E39C3E5D}" destId="{F7577C81-2727-5B41-AABB-050F413B652C}" srcOrd="3" destOrd="0" presId="urn:microsoft.com/office/officeart/2005/8/layout/hierarchy2"/>
    <dgm:cxn modelId="{98C76B07-FEC1-F741-94A6-FE3141501DE9}" type="presParOf" srcId="{F7577C81-2727-5B41-AABB-050F413B652C}" destId="{6338305F-9D38-BD4D-A495-08BE9A9BF3FB}" srcOrd="0" destOrd="0" presId="urn:microsoft.com/office/officeart/2005/8/layout/hierarchy2"/>
    <dgm:cxn modelId="{D67A32E5-0F57-0F43-BFFD-BBE5A3E82B35}" type="presParOf" srcId="{F7577C81-2727-5B41-AABB-050F413B652C}" destId="{6EFB8F6F-7B5D-CA41-86BA-013D81662B41}" srcOrd="1" destOrd="0" presId="urn:microsoft.com/office/officeart/2005/8/layout/hierarchy2"/>
    <dgm:cxn modelId="{068D9D66-68D0-CE44-BF78-E67AC784E65D}" type="presParOf" srcId="{3D1F1182-6BE9-FD42-B443-10ADD697A21D}" destId="{98F254CE-22E6-2144-AD03-78EC8D5A44B3}" srcOrd="2" destOrd="0" presId="urn:microsoft.com/office/officeart/2005/8/layout/hierarchy2"/>
    <dgm:cxn modelId="{A9298A67-83E4-154C-9F2D-943E4E450E96}" type="presParOf" srcId="{98F254CE-22E6-2144-AD03-78EC8D5A44B3}" destId="{B3699393-18EE-FC4D-AB6D-31186F7A7763}" srcOrd="0" destOrd="0" presId="urn:microsoft.com/office/officeart/2005/8/layout/hierarchy2"/>
    <dgm:cxn modelId="{F908ABF7-E127-584F-BAD9-B1020EF47FF9}" type="presParOf" srcId="{3D1F1182-6BE9-FD42-B443-10ADD697A21D}" destId="{2D6530D1-B782-FA44-8BD1-FBB9E2346B2B}" srcOrd="3" destOrd="0" presId="urn:microsoft.com/office/officeart/2005/8/layout/hierarchy2"/>
    <dgm:cxn modelId="{FFFB59C2-F91F-CB4D-93F9-15D5F68612F3}" type="presParOf" srcId="{2D6530D1-B782-FA44-8BD1-FBB9E2346B2B}" destId="{CA2ECB99-A0F7-9345-8C16-4644667EB24E}" srcOrd="0" destOrd="0" presId="urn:microsoft.com/office/officeart/2005/8/layout/hierarchy2"/>
    <dgm:cxn modelId="{6D8FF958-795B-BF45-96EC-E20471FC74ED}" type="presParOf" srcId="{2D6530D1-B782-FA44-8BD1-FBB9E2346B2B}" destId="{6FAD8FEB-A21F-4549-9412-02A97490BDB4}" srcOrd="1" destOrd="0" presId="urn:microsoft.com/office/officeart/2005/8/layout/hierarchy2"/>
    <dgm:cxn modelId="{982D602C-12AC-6C49-B2F9-EE9FE52FFC7E}" type="presParOf" srcId="{6FAD8FEB-A21F-4549-9412-02A97490BDB4}" destId="{1EFD0A1A-D27D-E541-AED0-2D1C334830FB}" srcOrd="0" destOrd="0" presId="urn:microsoft.com/office/officeart/2005/8/layout/hierarchy2"/>
    <dgm:cxn modelId="{A747D820-C222-2042-9751-CF6856BA8CA5}" type="presParOf" srcId="{1EFD0A1A-D27D-E541-AED0-2D1C334830FB}" destId="{7D626313-EBFF-E84B-B35F-CD893468DA83}" srcOrd="0" destOrd="0" presId="urn:microsoft.com/office/officeart/2005/8/layout/hierarchy2"/>
    <dgm:cxn modelId="{D38C63CE-E79F-2446-8F21-1C81CA3D8D15}" type="presParOf" srcId="{6FAD8FEB-A21F-4549-9412-02A97490BDB4}" destId="{16B8DE1F-B15D-B44D-A62F-93AFAA2DEC1B}" srcOrd="1" destOrd="0" presId="urn:microsoft.com/office/officeart/2005/8/layout/hierarchy2"/>
    <dgm:cxn modelId="{31C5A61C-6D83-854D-B941-F57C7D8618FD}" type="presParOf" srcId="{16B8DE1F-B15D-B44D-A62F-93AFAA2DEC1B}" destId="{65AD9E1E-ECEA-B74E-B3AE-103896DD457E}" srcOrd="0" destOrd="0" presId="urn:microsoft.com/office/officeart/2005/8/layout/hierarchy2"/>
    <dgm:cxn modelId="{B0FB7058-E7DC-974A-A980-DF96447A67A6}" type="presParOf" srcId="{16B8DE1F-B15D-B44D-A62F-93AFAA2DEC1B}" destId="{A2A0D018-2121-BB4B-AD4E-49DC9B2B0FC6}" srcOrd="1" destOrd="0" presId="urn:microsoft.com/office/officeart/2005/8/layout/hierarchy2"/>
    <dgm:cxn modelId="{2205FFE3-1E13-CE4E-9CD3-ABCF19DAE396}" type="presParOf" srcId="{6FAD8FEB-A21F-4549-9412-02A97490BDB4}" destId="{680CAD34-D5CA-3C40-AFB8-1C9379A729A6}" srcOrd="2" destOrd="0" presId="urn:microsoft.com/office/officeart/2005/8/layout/hierarchy2"/>
    <dgm:cxn modelId="{EE260538-8B3A-DB44-B2D6-7AC807FC27F2}" type="presParOf" srcId="{680CAD34-D5CA-3C40-AFB8-1C9379A729A6}" destId="{A3835A5C-901D-3D45-BF9D-F9EEF7D6DE9B}" srcOrd="0" destOrd="0" presId="urn:microsoft.com/office/officeart/2005/8/layout/hierarchy2"/>
    <dgm:cxn modelId="{3DC7B036-BB3B-0243-AE52-F4F85DC37D5C}" type="presParOf" srcId="{6FAD8FEB-A21F-4549-9412-02A97490BDB4}" destId="{94F25148-D00B-4041-8898-B94F4124FB4E}" srcOrd="3" destOrd="0" presId="urn:microsoft.com/office/officeart/2005/8/layout/hierarchy2"/>
    <dgm:cxn modelId="{9DE8A10D-C131-7744-8A56-EAA5F2D8447B}" type="presParOf" srcId="{94F25148-D00B-4041-8898-B94F4124FB4E}" destId="{561C601D-F912-4146-A5C5-94A00EBE806D}" srcOrd="0" destOrd="0" presId="urn:microsoft.com/office/officeart/2005/8/layout/hierarchy2"/>
    <dgm:cxn modelId="{80CE13CD-5014-834D-B2A6-90049F9B0DF0}" type="presParOf" srcId="{94F25148-D00B-4041-8898-B94F4124FB4E}" destId="{3369AED9-A719-C041-9AC4-0C234A3647FE}" srcOrd="1" destOrd="0" presId="urn:microsoft.com/office/officeart/2005/8/layout/hierarchy2"/>
    <dgm:cxn modelId="{082AB911-BB3D-7F4D-915F-699A5B271B8E}" type="presParOf" srcId="{3D1F1182-6BE9-FD42-B443-10ADD697A21D}" destId="{DF044D07-0F0B-2845-AD58-1A4E16EC969A}" srcOrd="4" destOrd="0" presId="urn:microsoft.com/office/officeart/2005/8/layout/hierarchy2"/>
    <dgm:cxn modelId="{C8AC4EB4-66BD-2C43-BD8B-D864CE20EEC8}" type="presParOf" srcId="{DF044D07-0F0B-2845-AD58-1A4E16EC969A}" destId="{A2A19601-2416-A146-B568-3B6E60D566ED}" srcOrd="0" destOrd="0" presId="urn:microsoft.com/office/officeart/2005/8/layout/hierarchy2"/>
    <dgm:cxn modelId="{94CF3352-D4D4-B847-BAF9-9779219F006A}" type="presParOf" srcId="{3D1F1182-6BE9-FD42-B443-10ADD697A21D}" destId="{C069D992-7316-DD43-A4EA-D0F18BD21622}" srcOrd="5" destOrd="0" presId="urn:microsoft.com/office/officeart/2005/8/layout/hierarchy2"/>
    <dgm:cxn modelId="{D54B94E2-4E58-6A4B-AFC8-00BCC0B2AF6A}" type="presParOf" srcId="{C069D992-7316-DD43-A4EA-D0F18BD21622}" destId="{82638959-D248-B54C-A1C0-48A9D7EC2E2F}" srcOrd="0" destOrd="0" presId="urn:microsoft.com/office/officeart/2005/8/layout/hierarchy2"/>
    <dgm:cxn modelId="{4105B243-ED1C-CB49-860F-EBCEE456AB3A}" type="presParOf" srcId="{C069D992-7316-DD43-A4EA-D0F18BD21622}" destId="{382B8C90-5517-7249-BCD4-69408732BAC5}" srcOrd="1" destOrd="0" presId="urn:microsoft.com/office/officeart/2005/8/layout/hierarchy2"/>
    <dgm:cxn modelId="{4D06296F-1708-8446-8F37-095C0E2B503C}" type="presParOf" srcId="{382B8C90-5517-7249-BCD4-69408732BAC5}" destId="{3B93E7E8-46AE-1441-8DDA-C38311A4764F}" srcOrd="0" destOrd="0" presId="urn:microsoft.com/office/officeart/2005/8/layout/hierarchy2"/>
    <dgm:cxn modelId="{3DD25F16-4DA5-DE43-91C5-1428822761BA}" type="presParOf" srcId="{3B93E7E8-46AE-1441-8DDA-C38311A4764F}" destId="{3DF6D3F6-235B-3B4B-A2C6-020D9DC09F80}" srcOrd="0" destOrd="0" presId="urn:microsoft.com/office/officeart/2005/8/layout/hierarchy2"/>
    <dgm:cxn modelId="{ACEF4593-57CE-AA41-A79F-3F3ECB1ECB6E}" type="presParOf" srcId="{382B8C90-5517-7249-BCD4-69408732BAC5}" destId="{8E981EB5-1BE9-B144-8C12-A4928632F7E7}" srcOrd="1" destOrd="0" presId="urn:microsoft.com/office/officeart/2005/8/layout/hierarchy2"/>
    <dgm:cxn modelId="{9CC54141-1133-244A-9433-9A03630A6FD4}" type="presParOf" srcId="{8E981EB5-1BE9-B144-8C12-A4928632F7E7}" destId="{487C09B6-B3B0-8C44-A727-93012690FE2F}" srcOrd="0" destOrd="0" presId="urn:microsoft.com/office/officeart/2005/8/layout/hierarchy2"/>
    <dgm:cxn modelId="{E8138387-1663-514F-9798-CD89291BB2F1}" type="presParOf" srcId="{8E981EB5-1BE9-B144-8C12-A4928632F7E7}" destId="{1EA7C485-9B37-5C47-886C-FF68D3C18F6F}" srcOrd="1" destOrd="0" presId="urn:microsoft.com/office/officeart/2005/8/layout/hierarchy2"/>
    <dgm:cxn modelId="{A52130F3-7A2F-9246-821B-0C2CF6A31D1E}" type="presParOf" srcId="{382B8C90-5517-7249-BCD4-69408732BAC5}" destId="{EF7733FC-44B1-6F41-A0B7-DEC427D53933}" srcOrd="2" destOrd="0" presId="urn:microsoft.com/office/officeart/2005/8/layout/hierarchy2"/>
    <dgm:cxn modelId="{8A24BFFD-6830-BD43-A4A4-89792947B5B5}" type="presParOf" srcId="{EF7733FC-44B1-6F41-A0B7-DEC427D53933}" destId="{5350BB71-C702-BA4E-8137-0434403EAFD7}" srcOrd="0" destOrd="0" presId="urn:microsoft.com/office/officeart/2005/8/layout/hierarchy2"/>
    <dgm:cxn modelId="{672294B5-D69E-734D-8C52-F89B5776D899}" type="presParOf" srcId="{382B8C90-5517-7249-BCD4-69408732BAC5}" destId="{4AD5B180-DEB3-F943-913A-7552419C2006}" srcOrd="3" destOrd="0" presId="urn:microsoft.com/office/officeart/2005/8/layout/hierarchy2"/>
    <dgm:cxn modelId="{766043B0-CA8F-0242-B0E8-28793EDD4AF2}" type="presParOf" srcId="{4AD5B180-DEB3-F943-913A-7552419C2006}" destId="{6ED483F0-3B8C-4541-B870-41A462560624}" srcOrd="0" destOrd="0" presId="urn:microsoft.com/office/officeart/2005/8/layout/hierarchy2"/>
    <dgm:cxn modelId="{76C80BA2-816B-2243-AEED-4B78777181FF}" type="presParOf" srcId="{4AD5B180-DEB3-F943-913A-7552419C2006}" destId="{902C57F9-8F3A-FB40-B389-3E44540CF957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AF625E-81AE-A94D-8493-23192B2F89E2}">
      <dsp:nvSpPr>
        <dsp:cNvPr id="0" name=""/>
        <dsp:cNvSpPr/>
      </dsp:nvSpPr>
      <dsp:spPr>
        <a:xfrm>
          <a:off x="-5617729" y="-859990"/>
          <a:ext cx="6688533" cy="6688533"/>
        </a:xfrm>
        <a:prstGeom prst="blockArc">
          <a:avLst>
            <a:gd name="adj1" fmla="val 18900000"/>
            <a:gd name="adj2" fmla="val 2700000"/>
            <a:gd name="adj3" fmla="val 32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ECB161-3601-0F4D-826F-7CC73EAA9104}">
      <dsp:nvSpPr>
        <dsp:cNvPr id="0" name=""/>
        <dsp:cNvSpPr/>
      </dsp:nvSpPr>
      <dsp:spPr>
        <a:xfrm>
          <a:off x="468124" y="310435"/>
          <a:ext cx="5943122" cy="621267"/>
        </a:xfrm>
        <a:prstGeom prst="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3131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400" kern="1200" dirty="0">
              <a:solidFill>
                <a:schemeClr val="tx1"/>
              </a:solidFill>
            </a:rPr>
            <a:t>user + </a:t>
          </a:r>
          <a:r>
            <a:rPr lang="en-US" altLang="zh-CN" sz="3400" kern="1200" dirty="0" err="1">
              <a:solidFill>
                <a:schemeClr val="tx1"/>
              </a:solidFill>
            </a:rPr>
            <a:t>sku</a:t>
          </a:r>
          <a:endParaRPr lang="zh-CN" altLang="en-US" sz="3400" kern="1200" dirty="0">
            <a:solidFill>
              <a:schemeClr val="tx1"/>
            </a:solidFill>
          </a:endParaRPr>
        </a:p>
      </dsp:txBody>
      <dsp:txXfrm>
        <a:off x="468124" y="310435"/>
        <a:ext cx="5943122" cy="621267"/>
      </dsp:txXfrm>
    </dsp:sp>
    <dsp:sp modelId="{9FA3CB24-E869-D449-8070-A4E69B68EAE3}">
      <dsp:nvSpPr>
        <dsp:cNvPr id="0" name=""/>
        <dsp:cNvSpPr/>
      </dsp:nvSpPr>
      <dsp:spPr>
        <a:xfrm>
          <a:off x="79831" y="232776"/>
          <a:ext cx="776584" cy="776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0EE070-8850-9D4B-B201-28CD11118C6E}">
      <dsp:nvSpPr>
        <dsp:cNvPr id="0" name=""/>
        <dsp:cNvSpPr/>
      </dsp:nvSpPr>
      <dsp:spPr>
        <a:xfrm>
          <a:off x="913306" y="1242038"/>
          <a:ext cx="5497940" cy="621267"/>
        </a:xfrm>
        <a:prstGeom prst="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3131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400" kern="1200" dirty="0" err="1">
              <a:solidFill>
                <a:schemeClr val="tx1"/>
              </a:solidFill>
            </a:rPr>
            <a:t>hbase</a:t>
          </a:r>
          <a:r>
            <a:rPr lang="en-US" altLang="zh-CN" sz="3400" kern="1200" dirty="0">
              <a:solidFill>
                <a:schemeClr val="tx1"/>
              </a:solidFill>
            </a:rPr>
            <a:t> + redis</a:t>
          </a:r>
          <a:endParaRPr lang="zh-CN" altLang="en-US" sz="3400" kern="1200" dirty="0">
            <a:solidFill>
              <a:schemeClr val="tx1"/>
            </a:solidFill>
          </a:endParaRPr>
        </a:p>
      </dsp:txBody>
      <dsp:txXfrm>
        <a:off x="913306" y="1242038"/>
        <a:ext cx="5497940" cy="621267"/>
      </dsp:txXfrm>
    </dsp:sp>
    <dsp:sp modelId="{C2F87AD7-AD27-434B-92B9-5BA427D0428F}">
      <dsp:nvSpPr>
        <dsp:cNvPr id="0" name=""/>
        <dsp:cNvSpPr/>
      </dsp:nvSpPr>
      <dsp:spPr>
        <a:xfrm>
          <a:off x="525014" y="1164380"/>
          <a:ext cx="776584" cy="776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30C656-EAFB-CD42-8C20-3392B3105394}">
      <dsp:nvSpPr>
        <dsp:cNvPr id="0" name=""/>
        <dsp:cNvSpPr/>
      </dsp:nvSpPr>
      <dsp:spPr>
        <a:xfrm>
          <a:off x="1049941" y="2173642"/>
          <a:ext cx="5361305" cy="621267"/>
        </a:xfrm>
        <a:prstGeom prst="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3131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400" kern="1200" dirty="0">
              <a:solidFill>
                <a:schemeClr val="tx1"/>
              </a:solidFill>
            </a:rPr>
            <a:t>offline</a:t>
          </a:r>
          <a:r>
            <a:rPr lang="zh-CN" altLang="en-US" sz="3400" kern="1200" dirty="0">
              <a:solidFill>
                <a:schemeClr val="tx1"/>
              </a:solidFill>
            </a:rPr>
            <a:t> </a:t>
          </a:r>
          <a:r>
            <a:rPr lang="en-US" altLang="zh-CN" sz="3400" kern="1200" dirty="0">
              <a:solidFill>
                <a:schemeClr val="tx1"/>
              </a:solidFill>
            </a:rPr>
            <a:t>+</a:t>
          </a:r>
          <a:r>
            <a:rPr lang="zh-CN" altLang="en-US" sz="3400" kern="1200" dirty="0">
              <a:solidFill>
                <a:schemeClr val="tx1"/>
              </a:solidFill>
            </a:rPr>
            <a:t> </a:t>
          </a:r>
          <a:r>
            <a:rPr lang="en-US" altLang="zh-CN" sz="3400" kern="1200" dirty="0" err="1">
              <a:solidFill>
                <a:schemeClr val="tx1"/>
              </a:solidFill>
            </a:rPr>
            <a:t>realtime</a:t>
          </a:r>
          <a:endParaRPr lang="zh-CN" altLang="en-US" sz="3400" kern="1200" dirty="0">
            <a:solidFill>
              <a:schemeClr val="tx1"/>
            </a:solidFill>
          </a:endParaRPr>
        </a:p>
      </dsp:txBody>
      <dsp:txXfrm>
        <a:off x="1049941" y="2173642"/>
        <a:ext cx="5361305" cy="621267"/>
      </dsp:txXfrm>
    </dsp:sp>
    <dsp:sp modelId="{38348B20-81BF-4F48-B638-B34D5C1C78CA}">
      <dsp:nvSpPr>
        <dsp:cNvPr id="0" name=""/>
        <dsp:cNvSpPr/>
      </dsp:nvSpPr>
      <dsp:spPr>
        <a:xfrm>
          <a:off x="661649" y="2095983"/>
          <a:ext cx="776584" cy="776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AA75A9-B55D-C34A-B654-F35F220FB3BE}">
      <dsp:nvSpPr>
        <dsp:cNvPr id="0" name=""/>
        <dsp:cNvSpPr/>
      </dsp:nvSpPr>
      <dsp:spPr>
        <a:xfrm>
          <a:off x="913306" y="3105245"/>
          <a:ext cx="5497940" cy="621267"/>
        </a:xfrm>
        <a:prstGeom prst="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3131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400" kern="1200" dirty="0" err="1">
              <a:solidFill>
                <a:schemeClr val="tx1"/>
              </a:solidFill>
            </a:rPr>
            <a:t>dbproxy</a:t>
          </a:r>
          <a:r>
            <a:rPr lang="en-US" altLang="zh-CN" sz="3400" kern="1200" dirty="0">
              <a:solidFill>
                <a:schemeClr val="tx1"/>
              </a:solidFill>
            </a:rPr>
            <a:t> +</a:t>
          </a:r>
          <a:r>
            <a:rPr lang="zh-CN" altLang="en-US" sz="3400" kern="1200" dirty="0">
              <a:solidFill>
                <a:schemeClr val="tx1"/>
              </a:solidFill>
            </a:rPr>
            <a:t> </a:t>
          </a:r>
          <a:r>
            <a:rPr lang="en-US" altLang="zh-CN" sz="3400" kern="1200" dirty="0" err="1">
              <a:solidFill>
                <a:schemeClr val="tx1"/>
              </a:solidFill>
            </a:rPr>
            <a:t>hbase</a:t>
          </a:r>
          <a:r>
            <a:rPr lang="en-US" altLang="zh-CN" sz="3400" kern="1200" dirty="0">
              <a:solidFill>
                <a:schemeClr val="tx1"/>
              </a:solidFill>
            </a:rPr>
            <a:t>-to-redis</a:t>
          </a:r>
          <a:endParaRPr lang="zh-CN" altLang="en-US" sz="3400" kern="1200" dirty="0">
            <a:solidFill>
              <a:schemeClr val="tx1"/>
            </a:solidFill>
          </a:endParaRPr>
        </a:p>
      </dsp:txBody>
      <dsp:txXfrm>
        <a:off x="913306" y="3105245"/>
        <a:ext cx="5497940" cy="621267"/>
      </dsp:txXfrm>
    </dsp:sp>
    <dsp:sp modelId="{DF058496-078A-7340-8424-AAFE0AC08331}">
      <dsp:nvSpPr>
        <dsp:cNvPr id="0" name=""/>
        <dsp:cNvSpPr/>
      </dsp:nvSpPr>
      <dsp:spPr>
        <a:xfrm>
          <a:off x="525014" y="3027587"/>
          <a:ext cx="776584" cy="776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01D115-2035-F346-A8F0-9EC8EE41DC26}">
      <dsp:nvSpPr>
        <dsp:cNvPr id="0" name=""/>
        <dsp:cNvSpPr/>
      </dsp:nvSpPr>
      <dsp:spPr>
        <a:xfrm>
          <a:off x="468124" y="4036849"/>
          <a:ext cx="5943122" cy="621267"/>
        </a:xfrm>
        <a:prstGeom prst="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3131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400" kern="1200" dirty="0">
              <a:solidFill>
                <a:schemeClr val="tx1"/>
              </a:solidFill>
            </a:rPr>
            <a:t>recmate + sniffer +rsm</a:t>
          </a:r>
          <a:endParaRPr lang="zh-CN" altLang="en-US" sz="3400" kern="1200" dirty="0">
            <a:solidFill>
              <a:schemeClr val="tx1"/>
            </a:solidFill>
          </a:endParaRPr>
        </a:p>
      </dsp:txBody>
      <dsp:txXfrm>
        <a:off x="468124" y="4036849"/>
        <a:ext cx="5943122" cy="621267"/>
      </dsp:txXfrm>
    </dsp:sp>
    <dsp:sp modelId="{EB039167-A180-5340-842B-5FBD7BC6FF84}">
      <dsp:nvSpPr>
        <dsp:cNvPr id="0" name=""/>
        <dsp:cNvSpPr/>
      </dsp:nvSpPr>
      <dsp:spPr>
        <a:xfrm>
          <a:off x="79831" y="3959190"/>
          <a:ext cx="776584" cy="776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2E104-8579-AB46-A394-F70F5C0DF32E}">
      <dsp:nvSpPr>
        <dsp:cNvPr id="0" name=""/>
        <dsp:cNvSpPr/>
      </dsp:nvSpPr>
      <dsp:spPr>
        <a:xfrm>
          <a:off x="763190" y="1731367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/>
            <a:t>main</a:t>
          </a:r>
          <a:endParaRPr lang="zh-CN" altLang="en-US" sz="1300" kern="1200" dirty="0"/>
        </a:p>
      </dsp:txBody>
      <dsp:txXfrm>
        <a:off x="780800" y="1748977"/>
        <a:ext cx="1167311" cy="566045"/>
      </dsp:txXfrm>
    </dsp:sp>
    <dsp:sp modelId="{72C5B1AE-FD13-5C47-B66D-F9DEEC293B02}">
      <dsp:nvSpPr>
        <dsp:cNvPr id="0" name=""/>
        <dsp:cNvSpPr/>
      </dsp:nvSpPr>
      <dsp:spPr>
        <a:xfrm rot="17350740">
          <a:off x="1474139" y="1327229"/>
          <a:ext cx="1464177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1464177" y="1331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169623" y="1303940"/>
        <a:ext cx="73208" cy="73208"/>
      </dsp:txXfrm>
    </dsp:sp>
    <dsp:sp modelId="{7832AD6D-7F4F-9042-B3F0-F50CE28487E2}">
      <dsp:nvSpPr>
        <dsp:cNvPr id="0" name=""/>
        <dsp:cNvSpPr/>
      </dsp:nvSpPr>
      <dsp:spPr>
        <a:xfrm>
          <a:off x="2446734" y="348456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iteminfo</a:t>
          </a:r>
          <a:endParaRPr lang="zh-CN" altLang="en-US" sz="1300" kern="1200" dirty="0"/>
        </a:p>
      </dsp:txBody>
      <dsp:txXfrm>
        <a:off x="2464344" y="366066"/>
        <a:ext cx="1167311" cy="566045"/>
      </dsp:txXfrm>
    </dsp:sp>
    <dsp:sp modelId="{0BD635D4-01B1-DA42-9313-AE9568EA89DF}">
      <dsp:nvSpPr>
        <dsp:cNvPr id="0" name=""/>
        <dsp:cNvSpPr/>
      </dsp:nvSpPr>
      <dsp:spPr>
        <a:xfrm rot="19457599">
          <a:off x="3593587" y="462909"/>
          <a:ext cx="592368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92368" y="1331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874962" y="461415"/>
        <a:ext cx="29618" cy="29618"/>
      </dsp:txXfrm>
    </dsp:sp>
    <dsp:sp modelId="{8FBFA7F7-660A-4846-8F9C-439456DE34E3}">
      <dsp:nvSpPr>
        <dsp:cNvPr id="0" name=""/>
        <dsp:cNvSpPr/>
      </dsp:nvSpPr>
      <dsp:spPr>
        <a:xfrm>
          <a:off x="4130278" y="2728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iteminfoMap</a:t>
          </a:r>
          <a:endParaRPr lang="zh-CN" altLang="en-US" sz="1300" kern="1200" dirty="0"/>
        </a:p>
      </dsp:txBody>
      <dsp:txXfrm>
        <a:off x="4147888" y="20338"/>
        <a:ext cx="1167311" cy="566045"/>
      </dsp:txXfrm>
    </dsp:sp>
    <dsp:sp modelId="{E3223961-1B3F-8349-B714-8FE6671484FB}">
      <dsp:nvSpPr>
        <dsp:cNvPr id="0" name=""/>
        <dsp:cNvSpPr/>
      </dsp:nvSpPr>
      <dsp:spPr>
        <a:xfrm rot="2142401">
          <a:off x="3593587" y="808637"/>
          <a:ext cx="592368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92368" y="1331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874962" y="807143"/>
        <a:ext cx="29618" cy="29618"/>
      </dsp:txXfrm>
    </dsp:sp>
    <dsp:sp modelId="{6338305F-9D38-BD4D-A495-08BE9A9BF3FB}">
      <dsp:nvSpPr>
        <dsp:cNvPr id="0" name=""/>
        <dsp:cNvSpPr/>
      </dsp:nvSpPr>
      <dsp:spPr>
        <a:xfrm>
          <a:off x="4130278" y="694183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iteminfoReduce</a:t>
          </a:r>
          <a:endParaRPr lang="zh-CN" altLang="en-US" sz="1300" kern="1200" dirty="0"/>
        </a:p>
      </dsp:txBody>
      <dsp:txXfrm>
        <a:off x="4147888" y="711793"/>
        <a:ext cx="1167311" cy="566045"/>
      </dsp:txXfrm>
    </dsp:sp>
    <dsp:sp modelId="{98F254CE-22E6-2144-AD03-78EC8D5A44B3}">
      <dsp:nvSpPr>
        <dsp:cNvPr id="0" name=""/>
        <dsp:cNvSpPr/>
      </dsp:nvSpPr>
      <dsp:spPr>
        <a:xfrm>
          <a:off x="1965721" y="2018684"/>
          <a:ext cx="4810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1012" y="1331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194202" y="2019974"/>
        <a:ext cx="24050" cy="24050"/>
      </dsp:txXfrm>
    </dsp:sp>
    <dsp:sp modelId="{CA2ECB99-A0F7-9345-8C16-4644667EB24E}">
      <dsp:nvSpPr>
        <dsp:cNvPr id="0" name=""/>
        <dsp:cNvSpPr/>
      </dsp:nvSpPr>
      <dsp:spPr>
        <a:xfrm>
          <a:off x="2446734" y="1731367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/>
            <a:t>predict</a:t>
          </a:r>
          <a:endParaRPr lang="zh-CN" altLang="en-US" sz="1300" kern="1200" dirty="0"/>
        </a:p>
      </dsp:txBody>
      <dsp:txXfrm>
        <a:off x="2464344" y="1748977"/>
        <a:ext cx="1167311" cy="566045"/>
      </dsp:txXfrm>
    </dsp:sp>
    <dsp:sp modelId="{1EFD0A1A-D27D-E541-AED0-2D1C334830FB}">
      <dsp:nvSpPr>
        <dsp:cNvPr id="0" name=""/>
        <dsp:cNvSpPr/>
      </dsp:nvSpPr>
      <dsp:spPr>
        <a:xfrm rot="19457599">
          <a:off x="3593587" y="1845820"/>
          <a:ext cx="592368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92368" y="1331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874962" y="1844326"/>
        <a:ext cx="29618" cy="29618"/>
      </dsp:txXfrm>
    </dsp:sp>
    <dsp:sp modelId="{65AD9E1E-ECEA-B74E-B3AE-103896DD457E}">
      <dsp:nvSpPr>
        <dsp:cNvPr id="0" name=""/>
        <dsp:cNvSpPr/>
      </dsp:nvSpPr>
      <dsp:spPr>
        <a:xfrm>
          <a:off x="4130278" y="1385639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predictMap</a:t>
          </a:r>
          <a:endParaRPr lang="zh-CN" altLang="en-US" sz="1300" kern="1200" dirty="0"/>
        </a:p>
      </dsp:txBody>
      <dsp:txXfrm>
        <a:off x="4147888" y="1403249"/>
        <a:ext cx="1167311" cy="566045"/>
      </dsp:txXfrm>
    </dsp:sp>
    <dsp:sp modelId="{680CAD34-D5CA-3C40-AFB8-1C9379A729A6}">
      <dsp:nvSpPr>
        <dsp:cNvPr id="0" name=""/>
        <dsp:cNvSpPr/>
      </dsp:nvSpPr>
      <dsp:spPr>
        <a:xfrm rot="2142401">
          <a:off x="3593587" y="2191548"/>
          <a:ext cx="592368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92368" y="1331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874962" y="2190054"/>
        <a:ext cx="29618" cy="29618"/>
      </dsp:txXfrm>
    </dsp:sp>
    <dsp:sp modelId="{561C601D-F912-4146-A5C5-94A00EBE806D}">
      <dsp:nvSpPr>
        <dsp:cNvPr id="0" name=""/>
        <dsp:cNvSpPr/>
      </dsp:nvSpPr>
      <dsp:spPr>
        <a:xfrm>
          <a:off x="4130278" y="2077094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pedictReduce</a:t>
          </a:r>
          <a:endParaRPr lang="zh-CN" altLang="en-US" sz="1300" kern="1200" dirty="0"/>
        </a:p>
      </dsp:txBody>
      <dsp:txXfrm>
        <a:off x="4147888" y="2094704"/>
        <a:ext cx="1167311" cy="566045"/>
      </dsp:txXfrm>
    </dsp:sp>
    <dsp:sp modelId="{DF044D07-0F0B-2845-AD58-1A4E16EC969A}">
      <dsp:nvSpPr>
        <dsp:cNvPr id="0" name=""/>
        <dsp:cNvSpPr/>
      </dsp:nvSpPr>
      <dsp:spPr>
        <a:xfrm rot="4249260">
          <a:off x="1474139" y="2710140"/>
          <a:ext cx="1464177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1464177" y="1331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2169623" y="2686851"/>
        <a:ext cx="73208" cy="73208"/>
      </dsp:txXfrm>
    </dsp:sp>
    <dsp:sp modelId="{82638959-D248-B54C-A1C0-48A9D7EC2E2F}">
      <dsp:nvSpPr>
        <dsp:cNvPr id="0" name=""/>
        <dsp:cNvSpPr/>
      </dsp:nvSpPr>
      <dsp:spPr>
        <a:xfrm>
          <a:off x="2446734" y="3114278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/>
            <a:t>selection</a:t>
          </a:r>
          <a:endParaRPr lang="zh-CN" altLang="en-US" sz="1300" kern="1200" dirty="0"/>
        </a:p>
      </dsp:txBody>
      <dsp:txXfrm>
        <a:off x="2464344" y="3131888"/>
        <a:ext cx="1167311" cy="566045"/>
      </dsp:txXfrm>
    </dsp:sp>
    <dsp:sp modelId="{3B93E7E8-46AE-1441-8DDA-C38311A4764F}">
      <dsp:nvSpPr>
        <dsp:cNvPr id="0" name=""/>
        <dsp:cNvSpPr/>
      </dsp:nvSpPr>
      <dsp:spPr>
        <a:xfrm rot="19457599">
          <a:off x="3593587" y="3228731"/>
          <a:ext cx="592368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92368" y="1331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874962" y="3227237"/>
        <a:ext cx="29618" cy="29618"/>
      </dsp:txXfrm>
    </dsp:sp>
    <dsp:sp modelId="{487C09B6-B3B0-8C44-A727-93012690FE2F}">
      <dsp:nvSpPr>
        <dsp:cNvPr id="0" name=""/>
        <dsp:cNvSpPr/>
      </dsp:nvSpPr>
      <dsp:spPr>
        <a:xfrm>
          <a:off x="4130278" y="2768550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selectionMap</a:t>
          </a:r>
          <a:endParaRPr lang="zh-CN" altLang="en-US" sz="1300" kern="1200" dirty="0"/>
        </a:p>
      </dsp:txBody>
      <dsp:txXfrm>
        <a:off x="4147888" y="2786160"/>
        <a:ext cx="1167311" cy="566045"/>
      </dsp:txXfrm>
    </dsp:sp>
    <dsp:sp modelId="{EF7733FC-44B1-6F41-A0B7-DEC427D53933}">
      <dsp:nvSpPr>
        <dsp:cNvPr id="0" name=""/>
        <dsp:cNvSpPr/>
      </dsp:nvSpPr>
      <dsp:spPr>
        <a:xfrm rot="2142401">
          <a:off x="3593587" y="3574459"/>
          <a:ext cx="592368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92368" y="1331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500" kern="1200"/>
        </a:p>
      </dsp:txBody>
      <dsp:txXfrm>
        <a:off x="3874962" y="3572965"/>
        <a:ext cx="29618" cy="29618"/>
      </dsp:txXfrm>
    </dsp:sp>
    <dsp:sp modelId="{6ED483F0-3B8C-4541-B870-41A462560624}">
      <dsp:nvSpPr>
        <dsp:cNvPr id="0" name=""/>
        <dsp:cNvSpPr/>
      </dsp:nvSpPr>
      <dsp:spPr>
        <a:xfrm>
          <a:off x="4130278" y="3460005"/>
          <a:ext cx="1202531" cy="6012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300" kern="1200" dirty="0" err="1"/>
            <a:t>selectReduce</a:t>
          </a:r>
          <a:endParaRPr lang="zh-CN" altLang="en-US" sz="1300" kern="1200" dirty="0"/>
        </a:p>
      </dsp:txBody>
      <dsp:txXfrm>
        <a:off x="4147888" y="3477615"/>
        <a:ext cx="1167311" cy="5660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9/12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从</a:t>
            </a:r>
            <a:r>
              <a:rPr lang="en-US" altLang="zh-CN" dirty="0"/>
              <a:t>5</a:t>
            </a:r>
            <a:r>
              <a:rPr lang="zh-CN" altLang="en-US" dirty="0"/>
              <a:t>个方面简单介绍下基础数据，从存储内容、底层存储、存储程序、数据服务、数据验证</a:t>
            </a:r>
            <a:r>
              <a:rPr lang="en-US" altLang="zh-CN" dirty="0"/>
              <a:t>debug</a:t>
            </a:r>
            <a:r>
              <a:rPr lang="zh-CN" altLang="en-US" dirty="0"/>
              <a:t>校验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1045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8435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33901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22905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28569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6119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2000" dirty="0"/>
              <a:t>解决方法：使用页面</a:t>
            </a:r>
            <a:r>
              <a:rPr lang="en-US" altLang="zh-CN" sz="2000" dirty="0"/>
              <a:t>Download</a:t>
            </a:r>
            <a:r>
              <a:rPr lang="zh-CN" altLang="en-US" sz="2000" dirty="0"/>
              <a:t>下的几个命令获取他人的还未被</a:t>
            </a:r>
            <a:r>
              <a:rPr lang="en-US" altLang="zh-CN" sz="2000" dirty="0"/>
              <a:t>merge</a:t>
            </a:r>
            <a:r>
              <a:rPr lang="zh-CN" altLang="en-US" sz="2000" dirty="0"/>
              <a:t>的</a:t>
            </a:r>
            <a:r>
              <a:rPr lang="en-US" altLang="zh-CN" sz="2000" dirty="0"/>
              <a:t>change</a:t>
            </a:r>
          </a:p>
          <a:p>
            <a:pPr lvl="1"/>
            <a:r>
              <a:rPr lang="zh-CN" altLang="en-US" sz="1800" dirty="0"/>
              <a:t>选择最新的</a:t>
            </a:r>
            <a:r>
              <a:rPr lang="en-US" altLang="zh-CN" sz="1800" dirty="0" err="1"/>
              <a:t>patchset</a:t>
            </a:r>
            <a:r>
              <a:rPr lang="en-US" altLang="zh-CN" sz="1800" dirty="0"/>
              <a:t>,</a:t>
            </a:r>
            <a:r>
              <a:rPr lang="zh-CN" altLang="en-US" sz="1800" dirty="0"/>
              <a:t>选择</a:t>
            </a:r>
            <a:r>
              <a:rPr lang="en-US" altLang="zh-CN" sz="1800" dirty="0"/>
              <a:t>download</a:t>
            </a:r>
            <a:r>
              <a:rPr lang="zh-CN" altLang="en-US" sz="1800" dirty="0"/>
              <a:t>。</a:t>
            </a:r>
            <a:endParaRPr lang="en-US" altLang="zh-CN" sz="1800" dirty="0"/>
          </a:p>
          <a:p>
            <a:pPr lvl="1"/>
            <a:r>
              <a:rPr lang="en-US" altLang="zh-CN" sz="1800" dirty="0"/>
              <a:t>git fetch &amp;&amp;git checkout FETCH_HEAD</a:t>
            </a:r>
            <a:r>
              <a:rPr lang="zh-CN" altLang="en-US" sz="1800" dirty="0"/>
              <a:t>命令。</a:t>
            </a:r>
            <a:endParaRPr lang="en-US" altLang="zh-CN" sz="1800" dirty="0"/>
          </a:p>
          <a:p>
            <a:pPr lvl="1"/>
            <a:r>
              <a:rPr lang="zh-CN" altLang="en-US" sz="1800" dirty="0"/>
              <a:t>修改文件</a:t>
            </a:r>
            <a:endParaRPr lang="en-US" altLang="zh-CN" sz="1800" dirty="0"/>
          </a:p>
          <a:p>
            <a:pPr lvl="1"/>
            <a:r>
              <a:rPr lang="en-US" altLang="zh-CN" sz="1800" dirty="0"/>
              <a:t>git checkout –b </a:t>
            </a:r>
            <a:r>
              <a:rPr lang="en-US" altLang="zh-CN" sz="1800" dirty="0" err="1"/>
              <a:t>new_branch_name</a:t>
            </a:r>
            <a:endParaRPr lang="en-US" altLang="zh-CN" sz="1800" dirty="0"/>
          </a:p>
          <a:p>
            <a:pPr lvl="1"/>
            <a:r>
              <a:rPr lang="en-US" altLang="zh-CN" sz="1800" dirty="0"/>
              <a:t>git add</a:t>
            </a:r>
          </a:p>
          <a:p>
            <a:pPr lvl="1"/>
            <a:r>
              <a:rPr lang="en-US" altLang="zh-CN" sz="1800" dirty="0"/>
              <a:t>git commit –amend(</a:t>
            </a:r>
            <a:r>
              <a:rPr lang="zh-CN" altLang="en-US" sz="1800" dirty="0"/>
              <a:t>修改当前的</a:t>
            </a:r>
            <a:r>
              <a:rPr lang="en-US" altLang="zh-CN" sz="1800" dirty="0" err="1"/>
              <a:t>changeset</a:t>
            </a:r>
            <a:r>
              <a:rPr lang="en-US" altLang="zh-CN" sz="1800" dirty="0"/>
              <a:t>)</a:t>
            </a:r>
          </a:p>
          <a:p>
            <a:pPr lvl="1"/>
            <a:r>
              <a:rPr lang="en-US" altLang="zh-CN" sz="1800" dirty="0"/>
              <a:t>git-review [branch] dev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6894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用户行为有截断，默认最多</a:t>
            </a:r>
            <a:r>
              <a:rPr lang="en-US" altLang="zh-CN" dirty="0"/>
              <a:t>200</a:t>
            </a:r>
            <a:r>
              <a:rPr lang="zh-CN" altLang="en-US" dirty="0"/>
              <a:t>个</a:t>
            </a:r>
            <a:r>
              <a:rPr lang="en-US" altLang="zh-CN" dirty="0" err="1"/>
              <a:t>sku</a:t>
            </a:r>
            <a:r>
              <a:rPr lang="zh-CN" altLang="en-US" dirty="0"/>
              <a:t>，可配置，底层</a:t>
            </a:r>
            <a:r>
              <a:rPr lang="en-US" altLang="zh-CN" dirty="0" err="1"/>
              <a:t>hbase</a:t>
            </a:r>
            <a:r>
              <a:rPr lang="zh-CN" altLang="en-US" dirty="0"/>
              <a:t>为一张表，每一种行为为一列，</a:t>
            </a:r>
            <a:r>
              <a:rPr lang="en-US" altLang="zh-CN" dirty="0"/>
              <a:t>key+</a:t>
            </a:r>
            <a:r>
              <a:rPr lang="zh-CN" altLang="en-US" dirty="0"/>
              <a:t>列名 确定一个账号的特定行为，离线数据具体存储的行为时间跨度可咨询用户画像组，实时数据存储</a:t>
            </a:r>
            <a:r>
              <a:rPr lang="en-US" altLang="zh-CN" dirty="0"/>
              <a:t>2</a:t>
            </a:r>
            <a:r>
              <a:rPr lang="zh-CN" altLang="en-US" dirty="0"/>
              <a:t>天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1355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备注占位符 1">
            <a:extLst>
              <a:ext uri="{FF2B5EF4-FFF2-40B4-BE49-F238E27FC236}">
                <a16:creationId xmlns:a16="http://schemas.microsoft.com/office/drawing/2014/main" id="{84036126-7D8E-FB4D-980D-4941D9C33F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45516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18432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0488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8533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6974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528" y="66617"/>
            <a:ext cx="8646304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452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528" y="66617"/>
            <a:ext cx="8646304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271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/>
              <a:t>单击添加内容</a:t>
            </a:r>
            <a:endParaRPr lang="en-US" dirty="0"/>
          </a:p>
          <a:p>
            <a:pPr lvl="1"/>
            <a:r>
              <a:rPr lang="zh-CN" altLang="en-US" dirty="0"/>
              <a:t>第二层</a:t>
            </a:r>
            <a:endParaRPr lang="en-US" dirty="0"/>
          </a:p>
          <a:p>
            <a:pPr lvl="2"/>
            <a:r>
              <a:rPr lang="zh-CN" altLang="en-US" dirty="0"/>
              <a:t>第三层</a:t>
            </a:r>
            <a:endParaRPr lang="en-US" dirty="0"/>
          </a:p>
          <a:p>
            <a:pPr lvl="3"/>
            <a:r>
              <a:rPr lang="zh-CN" altLang="en-US" dirty="0"/>
              <a:t>第四层</a:t>
            </a:r>
            <a:endParaRPr lang="en-US" dirty="0"/>
          </a:p>
          <a:p>
            <a:pPr lvl="4"/>
            <a:r>
              <a:rPr lang="zh-CN" altLang="en-US" dirty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/>
              <a:t>单击添加内容</a:t>
            </a:r>
            <a:endParaRPr lang="en-US" dirty="0"/>
          </a:p>
          <a:p>
            <a:pPr lvl="1"/>
            <a:r>
              <a:rPr lang="zh-CN" altLang="en-US" dirty="0"/>
              <a:t>第二层</a:t>
            </a:r>
            <a:endParaRPr lang="en-US" dirty="0"/>
          </a:p>
          <a:p>
            <a:pPr lvl="2"/>
            <a:r>
              <a:rPr lang="zh-CN" altLang="en-US" dirty="0"/>
              <a:t>第三层</a:t>
            </a:r>
            <a:endParaRPr lang="en-US" dirty="0"/>
          </a:p>
          <a:p>
            <a:pPr lvl="3"/>
            <a:r>
              <a:rPr lang="zh-CN" altLang="en-US" dirty="0"/>
              <a:t>第四层</a:t>
            </a:r>
            <a:endParaRPr lang="en-US" dirty="0"/>
          </a:p>
          <a:p>
            <a:pPr lvl="4"/>
            <a:r>
              <a:rPr lang="zh-CN" altLang="en-US" dirty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/>
              <a:t>单击添加内容</a:t>
            </a:r>
            <a:endParaRPr lang="en-US" dirty="0"/>
          </a:p>
          <a:p>
            <a:pPr lvl="1"/>
            <a:r>
              <a:rPr lang="zh-CN" altLang="en-US" dirty="0"/>
              <a:t>第二层</a:t>
            </a:r>
            <a:endParaRPr lang="en-US" dirty="0"/>
          </a:p>
          <a:p>
            <a:pPr lvl="2"/>
            <a:r>
              <a:rPr lang="zh-CN" altLang="en-US" dirty="0"/>
              <a:t>第三层</a:t>
            </a:r>
            <a:endParaRPr lang="en-US" dirty="0"/>
          </a:p>
          <a:p>
            <a:pPr lvl="3"/>
            <a:r>
              <a:rPr lang="zh-CN" altLang="en-US" dirty="0"/>
              <a:t>第四层</a:t>
            </a:r>
            <a:endParaRPr lang="en-US" dirty="0"/>
          </a:p>
          <a:p>
            <a:pPr lvl="4"/>
            <a:r>
              <a:rPr lang="zh-CN" altLang="en-US" dirty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/>
              <a:t>单击添加内容</a:t>
            </a:r>
            <a:endParaRPr lang="en-US" dirty="0"/>
          </a:p>
          <a:p>
            <a:pPr lvl="1"/>
            <a:r>
              <a:rPr lang="zh-CN" altLang="en-US" dirty="0"/>
              <a:t>第二层</a:t>
            </a:r>
            <a:endParaRPr lang="en-US" dirty="0"/>
          </a:p>
          <a:p>
            <a:pPr lvl="2"/>
            <a:r>
              <a:rPr lang="zh-CN" altLang="en-US" dirty="0"/>
              <a:t>第三层</a:t>
            </a:r>
            <a:endParaRPr lang="en-US" dirty="0"/>
          </a:p>
          <a:p>
            <a:pPr lvl="3"/>
            <a:r>
              <a:rPr lang="zh-CN" altLang="en-US" dirty="0"/>
              <a:t>第四层</a:t>
            </a:r>
            <a:endParaRPr lang="en-US" dirty="0"/>
          </a:p>
          <a:p>
            <a:pPr lvl="4"/>
            <a:r>
              <a:rPr lang="zh-CN" altLang="en-US" dirty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zh-CN" sz="900" kern="120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宋体" charset="-122"/>
                <a:cs typeface="+mn-cs"/>
              </a:rPr>
              <a:t>北京市大兴区亦庄经济开发区荣京西街朝林广场</a:t>
            </a:r>
            <a:r>
              <a:rPr lang="en-US" altLang="zh-CN" sz="900" kern="120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宋体" charset="-122"/>
                <a:cs typeface="+mn-cs"/>
              </a:rPr>
              <a:t>A</a:t>
            </a:r>
            <a:r>
              <a:rPr lang="zh-CN" altLang="zh-CN" sz="900" kern="120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宋体" charset="-122"/>
                <a:cs typeface="+mn-cs"/>
              </a:rPr>
              <a:t>座</a:t>
            </a:r>
            <a:r>
              <a:rPr lang="en-US" altLang="zh-CN" sz="900" kern="120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宋体" charset="-122"/>
                <a:cs typeface="+mn-cs"/>
              </a:rPr>
              <a:t>27</a:t>
            </a:r>
            <a:r>
              <a:rPr lang="zh-CN" altLang="zh-CN" sz="900" kern="120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宋体" charset="-122"/>
                <a:cs typeface="+mn-cs"/>
              </a:rPr>
              <a:t>层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pmp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528" y="66617"/>
            <a:ext cx="8646304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88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85" r:id="rId9"/>
    <p:sldLayoutId id="2147483689" r:id="rId10"/>
    <p:sldLayoutId id="2147483690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console.jimdb.jd.com/bj/overview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f.jd.com/pages/viewpage.action?pageId=107651232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://rsm.jd.com/" TargetMode="External"/><Relationship Id="rId4" Type="http://schemas.openxmlformats.org/officeDocument/2006/relationships/hyperlink" Target="http://sniffer.jd.com/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cf.jd.com/pages/viewpage.action?pageId=180387624" TargetMode="External"/><Relationship Id="rId3" Type="http://schemas.openxmlformats.org/officeDocument/2006/relationships/hyperlink" Target="https://cf.jd.com/pages/viewpage.action?pageId=104951289" TargetMode="External"/><Relationship Id="rId7" Type="http://schemas.openxmlformats.org/officeDocument/2006/relationships/hyperlink" Target="https://cf.jd.com/pages/viewpage.action?pageId=122128656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cf.jd.com/pages/viewpage.action?pageId=133008818" TargetMode="External"/><Relationship Id="rId11" Type="http://schemas.openxmlformats.org/officeDocument/2006/relationships/hyperlink" Target="https://cf.jd.com/pages/viewpage.action?pageId=194036794" TargetMode="External"/><Relationship Id="rId5" Type="http://schemas.openxmlformats.org/officeDocument/2006/relationships/hyperlink" Target="https://cf.jd.com/pages/viewpage.action?pageId=112680577" TargetMode="External"/><Relationship Id="rId10" Type="http://schemas.openxmlformats.org/officeDocument/2006/relationships/hyperlink" Target="https://cf.jd.com/pages/viewpage.action?pageId=197870334" TargetMode="External"/><Relationship Id="rId4" Type="http://schemas.openxmlformats.org/officeDocument/2006/relationships/hyperlink" Target="http://gerrit.jd.com/#/admin/projects/rec/feeder-job-config" TargetMode="External"/><Relationship Id="rId9" Type="http://schemas.openxmlformats.org/officeDocument/2006/relationships/hyperlink" Target="http://gerrit.jd.com/#/admin/projects/rec/recmate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f.jd.com/pages/viewpage.action?pageId=133008818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f.jd.com/pages/viewpage.action?pageId=122128656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推荐基础数据介绍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17736BD7-25B3-4876-BA51-C9BC55D24A29}" type="datetime1">
              <a:rPr lang="zh-CN" altLang="en-US" smtClean="0"/>
              <a:t>2019/12/20</a:t>
            </a:fld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3ECDACF-6DE2-8A47-B31A-5D31F9452A14}"/>
              </a:ext>
            </a:extLst>
          </p:cNvPr>
          <p:cNvSpPr txBox="1"/>
          <p:nvPr/>
        </p:nvSpPr>
        <p:spPr>
          <a:xfrm>
            <a:off x="212984" y="5517232"/>
            <a:ext cx="33842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>
                <a:latin typeface="+mj-ea"/>
                <a:ea typeface="+mj-ea"/>
              </a:rPr>
              <a:t>推荐研发部</a:t>
            </a:r>
            <a:r>
              <a:rPr kumimoji="1" lang="en-US" altLang="zh-CN" dirty="0">
                <a:latin typeface="+mj-ea"/>
                <a:ea typeface="+mj-ea"/>
              </a:rPr>
              <a:t>-</a:t>
            </a:r>
            <a:r>
              <a:rPr kumimoji="1" lang="zh-CN" altLang="en-US" dirty="0">
                <a:latin typeface="+mj-ea"/>
                <a:ea typeface="+mj-ea"/>
              </a:rPr>
              <a:t>架构研发部</a:t>
            </a:r>
            <a:r>
              <a:rPr kumimoji="1" lang="en-US" altLang="zh-CN" dirty="0">
                <a:latin typeface="+mj-ea"/>
                <a:ea typeface="+mj-ea"/>
              </a:rPr>
              <a:t>-</a:t>
            </a:r>
            <a:r>
              <a:rPr kumimoji="1" lang="zh-CN" altLang="en-US" dirty="0">
                <a:latin typeface="+mj-ea"/>
                <a:ea typeface="+mj-ea"/>
              </a:rPr>
              <a:t>李子博</a:t>
            </a:r>
          </a:p>
        </p:txBody>
      </p:sp>
    </p:spTree>
    <p:extLst>
      <p:ext uri="{BB962C8B-B14F-4D97-AF65-F5344CB8AC3E}">
        <p14:creationId xmlns:p14="http://schemas.microsoft.com/office/powerpoint/2010/main" val="414861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+ </a:t>
            </a:r>
            <a:r>
              <a:rPr lang="en-US" altLang="zh-CN" dirty="0" err="1">
                <a:solidFill>
                  <a:srgbClr val="FF0000"/>
                </a:solidFill>
              </a:rPr>
              <a:t>sku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.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特征信息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7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）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iv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离线表 由算法同学加工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数据固定四列 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ed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weight tag(optional),selection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之前为自由格式存储，不利于管控，后续改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t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特征打分信息，如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00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维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60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维信息、东家小院特征等，与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eatmerg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目录对应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主要是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在使用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</a:t>
            </a:r>
            <a:r>
              <a:rPr lang="en" altLang="zh-CN" dirty="0"/>
              <a:t> Feature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t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具体字段可查看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proto/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mmon_data_struct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mmon.proto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" altLang="zh-CN" dirty="0" err="1"/>
              <a:t>predictor_model</a:t>
            </a:r>
            <a:r>
              <a:rPr lang="en" altLang="zh-CN" dirty="0"/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profil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extend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</a:t>
            </a:r>
            <a:r>
              <a:rPr lang="en" altLang="zh-CN" dirty="0"/>
              <a:t> </a:t>
            </a:r>
            <a:r>
              <a:rPr lang="en" altLang="zh-CN" dirty="0" err="1"/>
              <a:t>predictor_model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~~~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名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profil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extend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_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名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" altLang="zh-CN" dirty="0"/>
              <a:t> </a:t>
            </a:r>
            <a:r>
              <a:rPr lang="en" altLang="zh-CN" dirty="0" err="1"/>
              <a:t>predictor_model</a:t>
            </a:r>
            <a:r>
              <a:rPr lang="en" altLang="zh-CN" dirty="0"/>
              <a:t> </a:t>
            </a:r>
            <a:r>
              <a:rPr lang="zh-CN" altLang="en-US" dirty="0"/>
              <a:t>：</a:t>
            </a:r>
            <a:r>
              <a:rPr lang="en-US" altLang="zh-CN" dirty="0"/>
              <a:t>redis,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profil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extend :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+redis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285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+ </a:t>
            </a:r>
            <a:r>
              <a:rPr lang="en-US" altLang="zh-CN" dirty="0" err="1"/>
              <a:t>sku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6.</a:t>
            </a:r>
            <a:r>
              <a:rPr lang="zh-CN" altLang="en-US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其它信息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nr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dq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ecprox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等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nr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批量更新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dq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服务使用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ecprox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灾备数据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</a:t>
            </a:r>
            <a:r>
              <a:rPr lang="en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各自服务协商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各自服务自行调用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edis</a:t>
            </a:r>
          </a:p>
        </p:txBody>
      </p:sp>
    </p:spTree>
    <p:extLst>
      <p:ext uri="{BB962C8B-B14F-4D97-AF65-F5344CB8AC3E}">
        <p14:creationId xmlns:p14="http://schemas.microsoft.com/office/powerpoint/2010/main" val="1076271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base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+ redis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980728"/>
            <a:ext cx="912225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zh-CN" altLang="en-US" sz="2400" b="1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概念</a:t>
            </a:r>
            <a:endParaRPr lang="en-US" altLang="zh-CN" sz="24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en-US" altLang="zh-CN" sz="2200" b="1" dirty="0" err="1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zh-CN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两个机房，主集群</a:t>
            </a:r>
            <a:r>
              <a:rPr lang="en" altLang="zh-CN" dirty="0" err="1"/>
              <a:t>demeter</a:t>
            </a:r>
            <a:r>
              <a:rPr lang="en" altLang="zh-CN" dirty="0"/>
              <a:t> </a:t>
            </a:r>
            <a:r>
              <a:rPr lang="zh-CN" altLang="en-US" dirty="0"/>
              <a:t>，备集群 </a:t>
            </a:r>
            <a:r>
              <a:rPr lang="en" altLang="zh-CN" dirty="0" err="1"/>
              <a:t>akte</a:t>
            </a:r>
            <a:r>
              <a:rPr lang="en" altLang="zh-CN" dirty="0"/>
              <a:t>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f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和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数据现有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60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lvl="2" eaLnBrk="0" hangingPunct="0">
              <a:spcBef>
                <a:spcPct val="0"/>
              </a:spcBef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. 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hlinkClick r:id="rId3"/>
              </a:rPr>
              <a:t>redis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imdb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现在共有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f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j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四个机房。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共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9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*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4=76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基础服务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imdb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71103" y="4725144"/>
            <a:ext cx="89511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2" eaLnBrk="0" hangingPunct="0">
              <a:spcBef>
                <a:spcPct val="0"/>
              </a:spcBef>
            </a:pPr>
            <a:br>
              <a:rPr lang="zh-CN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</a:br>
            <a:endParaRPr lang="zh-CN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6907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offline</a:t>
            </a:r>
            <a:r>
              <a:rPr lang="zh-CN" altLang="en-US" dirty="0"/>
              <a:t> </a:t>
            </a:r>
            <a:r>
              <a:rPr lang="en-US" altLang="zh-CN" dirty="0"/>
              <a:t>+</a:t>
            </a:r>
            <a:r>
              <a:rPr lang="zh-CN" altLang="en-US" dirty="0"/>
              <a:t> </a:t>
            </a:r>
            <a:r>
              <a:rPr lang="en-US" altLang="zh-CN" dirty="0" err="1"/>
              <a:t>realtime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实时离线程序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离线：从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iv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中加工的文本导入到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可进行自由配置导数，配置和导数程序分离，支持自定义解析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实时任务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behavior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负反馈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inf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mo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profil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extend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等数据，来源有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d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sf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ttp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m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等，使用公司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orm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和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link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程序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3" name="图示 2">
            <a:extLst>
              <a:ext uri="{FF2B5EF4-FFF2-40B4-BE49-F238E27FC236}">
                <a16:creationId xmlns:a16="http://schemas.microsoft.com/office/drawing/2014/main" id="{ACACA5D7-7132-9F4D-A7AD-3364B7BBCE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4198116"/>
              </p:ext>
            </p:extLst>
          </p:nvPr>
        </p:nvGraphicFramePr>
        <p:xfrm>
          <a:off x="1524000" y="263691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754021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 err="1"/>
              <a:t>dbproxy</a:t>
            </a:r>
            <a:r>
              <a:rPr lang="en-US" altLang="zh-CN" dirty="0"/>
              <a:t> +</a:t>
            </a:r>
            <a:r>
              <a:rPr lang="en-US" altLang="zh-CN" dirty="0" err="1"/>
              <a:t>hbase</a:t>
            </a:r>
            <a:r>
              <a:rPr lang="en-US" altLang="zh-CN" dirty="0"/>
              <a:t>-to-redi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服务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 err="1"/>
              <a:t>dbproxy</a:t>
            </a:r>
            <a:r>
              <a:rPr lang="en-US" altLang="zh-CN" dirty="0"/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数据查询入口，各个服务有对应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查询基础服务缓存云中的数据，如果未查询到，将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iss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发送到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afka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由</a:t>
            </a:r>
            <a:r>
              <a:rPr lang="en-US" altLang="zh-CN" dirty="0" err="1"/>
              <a:t>hbase</a:t>
            </a:r>
            <a:r>
              <a:rPr lang="en-US" altLang="zh-CN" dirty="0"/>
              <a:t>-to-redis</a:t>
            </a:r>
            <a:r>
              <a:rPr lang="zh-CN" altLang="en-US" dirty="0"/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程序从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中查询并回写到缓存云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 err="1"/>
              <a:t>hbase</a:t>
            </a:r>
            <a:r>
              <a:rPr lang="en-US" altLang="zh-CN" dirty="0"/>
              <a:t>-to-redis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接收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发送过来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iss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消息，进行数据回写，具体过期时间如下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ABC7E0A2-B477-1D41-9196-4B8091DDCD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3803822"/>
              </p:ext>
            </p:extLst>
          </p:nvPr>
        </p:nvGraphicFramePr>
        <p:xfrm>
          <a:off x="395536" y="2852936"/>
          <a:ext cx="8208913" cy="34563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14099">
                  <a:extLst>
                    <a:ext uri="{9D8B030D-6E8A-4147-A177-3AD203B41FA5}">
                      <a16:colId xmlns:a16="http://schemas.microsoft.com/office/drawing/2014/main" val="2167503185"/>
                    </a:ext>
                  </a:extLst>
                </a:gridCol>
                <a:gridCol w="2063764">
                  <a:extLst>
                    <a:ext uri="{9D8B030D-6E8A-4147-A177-3AD203B41FA5}">
                      <a16:colId xmlns:a16="http://schemas.microsoft.com/office/drawing/2014/main" val="4051823310"/>
                    </a:ext>
                  </a:extLst>
                </a:gridCol>
                <a:gridCol w="2936248">
                  <a:extLst>
                    <a:ext uri="{9D8B030D-6E8A-4147-A177-3AD203B41FA5}">
                      <a16:colId xmlns:a16="http://schemas.microsoft.com/office/drawing/2014/main" val="2262322833"/>
                    </a:ext>
                  </a:extLst>
                </a:gridCol>
                <a:gridCol w="1094802">
                  <a:extLst>
                    <a:ext uri="{9D8B030D-6E8A-4147-A177-3AD203B41FA5}">
                      <a16:colId xmlns:a16="http://schemas.microsoft.com/office/drawing/2014/main" val="1343594525"/>
                    </a:ext>
                  </a:extLst>
                </a:gridCol>
              </a:tblGrid>
              <a:tr h="48086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u="none" strike="noStrike">
                          <a:effectLst/>
                        </a:rPr>
                        <a:t>服务名称</a:t>
                      </a:r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u="none" strike="noStrike" dirty="0">
                          <a:effectLst/>
                        </a:rPr>
                        <a:t>有值（小时）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u="none" strike="noStrike" dirty="0">
                          <a:effectLst/>
                        </a:rPr>
                        <a:t>无值（小时）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u="none" strike="noStrike" dirty="0">
                          <a:effectLst/>
                        </a:rPr>
                        <a:t>无结果（小时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14669277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iteminfo-detail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68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 dirty="0">
                          <a:effectLst/>
                        </a:rPr>
                        <a:t>1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60869898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iteminfo-price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68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 dirty="0">
                          <a:effectLst/>
                        </a:rPr>
                        <a:t>1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5949684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iteminfo-stock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68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 dirty="0">
                          <a:effectLst/>
                        </a:rPr>
                        <a:t>1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1545257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itemprofile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96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 dirty="0">
                          <a:effectLst/>
                        </a:rPr>
                        <a:t>1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21352120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itemprofile-extend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24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 dirty="0">
                          <a:effectLst/>
                        </a:rPr>
                        <a:t>1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545481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itemprofile-extend-bw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24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 dirty="0">
                          <a:effectLst/>
                        </a:rPr>
                        <a:t>12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8688019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userprofile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5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5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84285793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behavior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3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786516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behavior-order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6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6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98507182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predictor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6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6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63448344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nluserprofile-predictor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24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76031868"/>
                  </a:ext>
                </a:extLst>
              </a:tr>
              <a:tr h="247960">
                <a:tc>
                  <a:txBody>
                    <a:bodyPr/>
                    <a:lstStyle/>
                    <a:p>
                      <a:pPr algn="l" fontAlgn="b"/>
                      <a:r>
                        <a:rPr lang="en" sz="1100" u="none" strike="noStrike">
                          <a:effectLst/>
                        </a:rPr>
                        <a:t>nluserprofile-userprofile</a:t>
                      </a:r>
                      <a:endParaRPr lang="e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24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u="none" strike="noStrike">
                          <a:effectLst/>
                        </a:rPr>
                        <a:t>1</a:t>
                      </a:r>
                      <a:endParaRPr lang="en-US" altLang="zh-CN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8947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4843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altLang="zh-CN" dirty="0"/>
              <a:t>recmate + sniffer +rsm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.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验证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&amp;debug&amp;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资源管理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hlinkClick r:id="rId3"/>
              </a:rPr>
              <a:t>recmat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脚本命令，直接查询基础数据 ，提供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imdb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d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四种查询方式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</a:p>
          <a:p>
            <a:pPr marL="74250" lvl="3" eaLnBrk="0" hangingPunct="0">
              <a:spcBef>
                <a:spcPct val="0"/>
              </a:spcBef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>
                <a:hlinkClick r:id="rId4"/>
              </a:rPr>
              <a:t>sniffer</a:t>
            </a:r>
            <a:r>
              <a:rPr lang="en-US" altLang="zh-CN" dirty="0"/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web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工程，可查询用户行为、进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ebug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，查询离线导数记录，查询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等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>
                <a:hlinkClick r:id="rId5"/>
              </a:rPr>
              <a:t>rsm</a:t>
            </a:r>
            <a:r>
              <a:rPr lang="en-US" altLang="zh-CN" dirty="0"/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：资源管理平台，资源申请、下线，转交等功能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07853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导数文档及配置工程解析等</a:t>
            </a:r>
          </a:p>
        </p:txBody>
      </p:sp>
      <p:sp>
        <p:nvSpPr>
          <p:cNvPr id="9" name="标题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endParaRPr lang="zh-CN" altLang="en-US" dirty="0"/>
          </a:p>
        </p:txBody>
      </p:sp>
      <p:sp>
        <p:nvSpPr>
          <p:cNvPr id="10" name="内容占位符 2"/>
          <p:cNvSpPr txBox="1">
            <a:spLocks/>
          </p:cNvSpPr>
          <p:nvPr/>
        </p:nvSpPr>
        <p:spPr>
          <a:xfrm>
            <a:off x="200440" y="993272"/>
            <a:ext cx="8892480" cy="5363077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+mn-ea"/>
                <a:ea typeface="+mn-ea"/>
              </a:rPr>
              <a:t>Feed-</a:t>
            </a:r>
            <a:r>
              <a:rPr lang="en-US" altLang="zh-CN" dirty="0" err="1">
                <a:latin typeface="+mn-ea"/>
                <a:ea typeface="+mn-ea"/>
              </a:rPr>
              <a:t>mr</a:t>
            </a:r>
            <a:r>
              <a:rPr lang="en-US" altLang="zh-CN" dirty="0">
                <a:latin typeface="+mn-ea"/>
                <a:ea typeface="+mn-ea"/>
              </a:rPr>
              <a:t> </a:t>
            </a:r>
            <a:r>
              <a:rPr lang="zh-CN" altLang="en-US" dirty="0">
                <a:latin typeface="+mn-ea"/>
                <a:ea typeface="+mn-ea"/>
              </a:rPr>
              <a:t>导数流程梳理及配置文件工程</a:t>
            </a:r>
            <a:endParaRPr lang="en-US" altLang="zh-CN" dirty="0">
              <a:latin typeface="+mn-ea"/>
              <a:ea typeface="+mn-ea"/>
            </a:endParaRPr>
          </a:p>
          <a:p>
            <a:pPr lvl="1"/>
            <a:r>
              <a:rPr lang="en" altLang="zh-CN" dirty="0">
                <a:hlinkClick r:id="rId3"/>
              </a:rPr>
              <a:t>https://cf.jd.com/pages/viewpage.action?pageId=104951289</a:t>
            </a:r>
            <a:endParaRPr lang="en" altLang="zh-CN" dirty="0"/>
          </a:p>
          <a:p>
            <a:pPr lvl="1"/>
            <a:r>
              <a:rPr lang="en" altLang="zh-CN" dirty="0">
                <a:hlinkClick r:id="rId4"/>
              </a:rPr>
              <a:t>http://gerrit.jd.com/#/admin/projects/rec/feeder-job-config</a:t>
            </a:r>
            <a:endParaRPr lang="en" altLang="zh-CN" dirty="0"/>
          </a:p>
          <a:p>
            <a:pPr lvl="1"/>
            <a:r>
              <a:rPr lang="en" altLang="zh-CN" dirty="0">
                <a:hlinkClick r:id="rId5"/>
              </a:rPr>
              <a:t>https://cf.jd.com/pages/viewpage.action?pageId=112680577</a:t>
            </a:r>
            <a:endParaRPr lang="en-US" altLang="zh-CN" dirty="0">
              <a:latin typeface="+mn-ea"/>
              <a:ea typeface="+mn-ea"/>
            </a:endParaRPr>
          </a:p>
          <a:p>
            <a:r>
              <a:rPr lang="zh-CN" altLang="en-US" dirty="0">
                <a:latin typeface="+mn-ea"/>
                <a:ea typeface="+mn-ea"/>
              </a:rPr>
              <a:t>当前用户行为</a:t>
            </a:r>
            <a:endParaRPr lang="en-US" altLang="zh-CN" dirty="0">
              <a:latin typeface="+mn-ea"/>
              <a:ea typeface="+mn-ea"/>
            </a:endParaRPr>
          </a:p>
          <a:p>
            <a:pPr lvl="1"/>
            <a:r>
              <a:rPr lang="en" altLang="zh-CN" dirty="0">
                <a:hlinkClick r:id="rId6"/>
              </a:rPr>
              <a:t>https://cf.jd.com/pages/viewpage.action?pageId=133008818</a:t>
            </a:r>
            <a:endParaRPr lang="en-US" altLang="zh-CN" dirty="0">
              <a:latin typeface="+mn-ea"/>
              <a:ea typeface="+mn-ea"/>
            </a:endParaRPr>
          </a:p>
          <a:p>
            <a:r>
              <a:rPr lang="zh-CN" altLang="en-US" dirty="0">
                <a:latin typeface="+mn-ea"/>
                <a:ea typeface="+mn-ea"/>
              </a:rPr>
              <a:t>当前用户画像</a:t>
            </a:r>
          </a:p>
          <a:p>
            <a:pPr lvl="1"/>
            <a:r>
              <a:rPr lang="en" altLang="zh-CN" dirty="0">
                <a:hlinkClick r:id="rId7"/>
              </a:rPr>
              <a:t>https://cf.jd.com/pages/viewpage.action?pageId=122128656</a:t>
            </a:r>
            <a:endParaRPr lang="en-US" altLang="zh-CN" dirty="0">
              <a:latin typeface="+mn-ea"/>
              <a:ea typeface="+mn-ea"/>
            </a:endParaRPr>
          </a:p>
          <a:p>
            <a:r>
              <a:rPr lang="en-US" altLang="zh-CN" dirty="0" err="1">
                <a:latin typeface="+mn-ea"/>
                <a:ea typeface="+mn-ea"/>
              </a:rPr>
              <a:t>Itemprofile</a:t>
            </a:r>
            <a:r>
              <a:rPr lang="en-US" altLang="zh-CN" dirty="0">
                <a:latin typeface="+mn-ea"/>
                <a:ea typeface="+mn-ea"/>
              </a:rPr>
              <a:t>-extend</a:t>
            </a:r>
            <a:r>
              <a:rPr lang="zh-CN" altLang="en-US" dirty="0">
                <a:latin typeface="+mn-ea"/>
                <a:ea typeface="+mn-ea"/>
              </a:rPr>
              <a:t> </a:t>
            </a:r>
            <a:r>
              <a:rPr lang="en-US" altLang="zh-CN" dirty="0">
                <a:latin typeface="+mn-ea"/>
                <a:ea typeface="+mn-ea"/>
              </a:rPr>
              <a:t>join</a:t>
            </a:r>
            <a:r>
              <a:rPr lang="zh-CN" altLang="en-US" dirty="0">
                <a:latin typeface="+mn-ea"/>
                <a:ea typeface="+mn-ea"/>
              </a:rPr>
              <a:t>任务 特殊取数</a:t>
            </a:r>
            <a:endParaRPr lang="en-US" altLang="zh-CN" dirty="0">
              <a:latin typeface="+mn-ea"/>
              <a:ea typeface="+mn-ea"/>
            </a:endParaRPr>
          </a:p>
          <a:p>
            <a:pPr lvl="1"/>
            <a:r>
              <a:rPr lang="en" altLang="zh-CN" dirty="0">
                <a:hlinkClick r:id="rId8"/>
              </a:rPr>
              <a:t>https://cf.jd.com/pages/viewpage.action?pageId=180387624</a:t>
            </a:r>
            <a:endParaRPr lang="en" altLang="zh-CN" dirty="0"/>
          </a:p>
          <a:p>
            <a:pPr lvl="1"/>
            <a:r>
              <a:rPr lang="en" altLang="zh-CN" dirty="0">
                <a:hlinkClick r:id="rId9"/>
              </a:rPr>
              <a:t>http://gerrit.jd.com/#/admin/projects/rec/recmate</a:t>
            </a:r>
            <a:endParaRPr lang="en-US" altLang="zh-CN" dirty="0">
              <a:latin typeface="+mn-ea"/>
              <a:ea typeface="+mn-ea"/>
            </a:endParaRPr>
          </a:p>
          <a:p>
            <a:r>
              <a:rPr lang="en-US" altLang="zh-CN" dirty="0">
                <a:latin typeface="+mn-ea"/>
                <a:ea typeface="+mn-ea"/>
              </a:rPr>
              <a:t>Behavior</a:t>
            </a:r>
            <a:r>
              <a:rPr lang="zh-CN" altLang="en-US" dirty="0">
                <a:latin typeface="+mn-ea"/>
                <a:ea typeface="+mn-ea"/>
              </a:rPr>
              <a:t>类解析</a:t>
            </a:r>
            <a:endParaRPr lang="en-US" altLang="zh-CN" dirty="0">
              <a:latin typeface="+mn-ea"/>
              <a:ea typeface="+mn-ea"/>
            </a:endParaRPr>
          </a:p>
          <a:p>
            <a:pPr lvl="1"/>
            <a:r>
              <a:rPr lang="en" altLang="zh-CN" dirty="0">
                <a:hlinkClick r:id="rId10"/>
              </a:rPr>
              <a:t>https://cf.jd.com/pages/viewpage.action?pageId=197870334</a:t>
            </a:r>
            <a:endParaRPr lang="en-US" altLang="zh-CN" dirty="0">
              <a:latin typeface="+mn-ea"/>
              <a:ea typeface="+mn-ea"/>
            </a:endParaRPr>
          </a:p>
          <a:p>
            <a:r>
              <a:rPr lang="en-US" altLang="zh-CN" dirty="0">
                <a:latin typeface="+mn-ea"/>
                <a:ea typeface="+mn-ea"/>
              </a:rPr>
              <a:t>Zeus</a:t>
            </a:r>
            <a:r>
              <a:rPr lang="zh-CN" altLang="en-US" dirty="0">
                <a:latin typeface="+mn-ea"/>
                <a:ea typeface="+mn-ea"/>
              </a:rPr>
              <a:t>类解析：</a:t>
            </a:r>
            <a:endParaRPr lang="en-US" altLang="zh-CN" dirty="0">
              <a:latin typeface="+mn-ea"/>
              <a:ea typeface="+mn-ea"/>
            </a:endParaRPr>
          </a:p>
          <a:p>
            <a:pPr lvl="1"/>
            <a:r>
              <a:rPr lang="en" altLang="zh-CN" dirty="0">
                <a:hlinkClick r:id="rId11"/>
              </a:rPr>
              <a:t>https://cf.jd.com/pages/viewpage.action?pageId=194036794</a:t>
            </a:r>
            <a:endParaRPr lang="en" altLang="zh-CN" dirty="0"/>
          </a:p>
          <a:p>
            <a:pPr marL="457200" lvl="1" indent="0">
              <a:buNone/>
            </a:pPr>
            <a:endParaRPr lang="en-US" altLang="zh-CN" dirty="0">
              <a:latin typeface="+mn-ea"/>
              <a:ea typeface="+mn-ea"/>
            </a:endParaRPr>
          </a:p>
          <a:p>
            <a:endParaRPr lang="zh-CN" altLang="en-US" dirty="0">
              <a:latin typeface="+mn-ea"/>
              <a:ea typeface="+mn-ea"/>
            </a:endParaRPr>
          </a:p>
          <a:p>
            <a:pPr marL="0" indent="0">
              <a:buFont typeface="Arial" pitchFamily="34" charset="0"/>
              <a:buNone/>
            </a:pPr>
            <a:endParaRPr lang="en-US" altLang="zh-CN" i="1" dirty="0"/>
          </a:p>
          <a:p>
            <a:pPr marL="0" indent="0">
              <a:buFont typeface="Arial" pitchFamily="34" charset="0"/>
              <a:buNone/>
            </a:pPr>
            <a:endParaRPr lang="en-US" altLang="zh-CN" dirty="0"/>
          </a:p>
          <a:p>
            <a:pPr marL="0" indent="0">
              <a:buFont typeface="Arial" pitchFamily="34" charset="0"/>
              <a:buNone/>
            </a:pPr>
            <a:endParaRPr lang="en-US" altLang="zh-CN" dirty="0"/>
          </a:p>
          <a:p>
            <a:pPr marL="0" indent="0">
              <a:buFont typeface="Arial" pitchFamily="34" charset="0"/>
              <a:buNone/>
            </a:pPr>
            <a:endParaRPr lang="en-US" altLang="zh-CN" dirty="0"/>
          </a:p>
          <a:p>
            <a:endParaRPr lang="zh-CN" altLang="en-US" dirty="0"/>
          </a:p>
        </p:txBody>
      </p:sp>
      <p:sp>
        <p:nvSpPr>
          <p:cNvPr id="12" name="灯片编号占位符 3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D80C9D-4F01-4E78-89D2-066B0E14264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9346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C7484FC7-DB70-B346-9E77-0DF77CE7BB2E}"/>
              </a:ext>
            </a:extLst>
          </p:cNvPr>
          <p:cNvSpPr/>
          <p:nvPr/>
        </p:nvSpPr>
        <p:spPr bwMode="auto">
          <a:xfrm>
            <a:off x="611560" y="5517232"/>
            <a:ext cx="3312368" cy="576064"/>
          </a:xfrm>
          <a:prstGeom prst="rect">
            <a:avLst/>
          </a:prstGeom>
          <a:pattFill prst="diagBrick">
            <a:fgClr>
              <a:schemeClr val="l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zh-CN" altLang="en-US" dirty="0" err="1">
              <a:noFill/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23090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简介</a:t>
            </a:r>
          </a:p>
        </p:txBody>
      </p:sp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54CDF3F0-5E2E-7D46-A48B-65086D9F33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1215438"/>
              </p:ext>
            </p:extLst>
          </p:nvPr>
        </p:nvGraphicFramePr>
        <p:xfrm>
          <a:off x="1259632" y="1196752"/>
          <a:ext cx="648072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706222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FF0000"/>
                </a:solidFill>
              </a:rPr>
              <a:t>user </a:t>
            </a:r>
            <a:r>
              <a:rPr lang="en-US" altLang="zh-CN" dirty="0"/>
              <a:t>+ </a:t>
            </a:r>
            <a:r>
              <a:rPr lang="en-US" altLang="zh-CN" dirty="0" err="1"/>
              <a:t>sku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hlinkClick r:id="rId3"/>
              </a:rPr>
              <a:t>用户行为</a:t>
            </a:r>
            <a:r>
              <a:rPr lang="zh-CN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hlinkClick r:id="rId3"/>
              </a:rPr>
              <a:t>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（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2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离线任务，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5+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实时任务）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（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p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微信、手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5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小程序）、京喜、大客户、泰国站、印尼站等站点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分为离线数据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默认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0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条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和实时数据，离线数据由用户画像组算法负责加工处理，实时数据部分由接入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m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d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消息进行处理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大致分为 商品、店铺、素材、其它等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主要行为有点击、加购、订单、搜索等，实时和离线行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50+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分为</a:t>
            </a:r>
            <a:r>
              <a:rPr lang="en" altLang="zh-CN" dirty="0" err="1"/>
              <a:t>SKUData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与</a:t>
            </a:r>
            <a:r>
              <a:rPr lang="en" altLang="zh-CN" dirty="0" err="1"/>
              <a:t>OtherData</a:t>
            </a:r>
            <a:r>
              <a:rPr lang="en" altLang="zh-CN" dirty="0"/>
              <a:t>   </a:t>
            </a:r>
            <a:r>
              <a:rPr lang="zh-CN" altLang="e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两类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rif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主要包含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id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i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un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ourc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这四个字段，离线数据生产也是至少包含这四个字段，具体其它字段可查看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thrift/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behavior.thrift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behavior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离线数据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in|uuid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~~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行为，实时数据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in|uuid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^^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行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^^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ayOfYear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+ redis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946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FF0000"/>
                </a:solidFill>
              </a:rPr>
              <a:t>user</a:t>
            </a:r>
            <a:r>
              <a:rPr lang="en-US" altLang="zh-CN" dirty="0"/>
              <a:t> + </a:t>
            </a:r>
            <a:r>
              <a:rPr lang="en-US" altLang="zh-CN" dirty="0" err="1"/>
              <a:t>sku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.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hlinkClick r:id="rId3"/>
              </a:rPr>
              <a:t>用户画像</a:t>
            </a:r>
            <a:r>
              <a:rPr lang="zh-CN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hlinkClick r:id="rId3"/>
              </a:rPr>
              <a:t> 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02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任务）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用户画像数据均为离线数据，由搜索和推荐的用户画像组负责产生数据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大致分为 基本信息、偏好信息、特征信息等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截止到现在共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30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画像记录中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数据源需要由算法根据特定的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t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体进行序列化成二进制文件，由离线程序导入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zeu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系统，具体的每一个模型对应的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t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 在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proto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zeus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ser_data.proro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serprofil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hash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格式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离线数据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zeus_portal_pin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: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in|uuid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   field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相应的模型名称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+ redis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164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FF0000"/>
                </a:solidFill>
              </a:rPr>
              <a:t>user</a:t>
            </a:r>
            <a:r>
              <a:rPr lang="en-US" altLang="zh-CN" dirty="0"/>
              <a:t> + </a:t>
            </a:r>
            <a:r>
              <a:rPr lang="en-US" altLang="zh-CN" dirty="0" err="1"/>
              <a:t>sku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3.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负反馈数据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实时任务）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实时数据，数据来源与公司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d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实时数据流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分为显示和隐式两类，显示：用户对推荐内容进行主动反馈，比如 为你推荐首页的，长按功能点击 不喜欢、不敢兴趣、看过了、涉及隐私等，隐式：保留用户的点击数据和已曝光数据，对推荐结果进行加权降权功能，例如首页的排行榜曝光、我的京东曝光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显示数据存储格式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thrift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userFeedback.thrift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隐式数据存储格式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thrift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eedback.thrift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xfeedback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显示）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mfeedback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隐式） 格式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in|uuid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(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显示）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in|uuid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^^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ayOfYear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^^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id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edis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显示负反馈过期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30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天，隐式负反馈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7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天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872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+ </a:t>
            </a:r>
            <a:r>
              <a:rPr lang="en-US" altLang="zh-CN" dirty="0" err="1">
                <a:solidFill>
                  <a:srgbClr val="FF0000"/>
                </a:solidFill>
              </a:rPr>
              <a:t>sku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基本信息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、拍拍二手、大客户、泰国站、印尼站等站点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分为离线数据和实时数据，离线数据由内容研发组算法负责加工处理，实时数据部分由接入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m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d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消息进行处理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分为基本信息、库存信息、价格信息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</a:t>
            </a:r>
            <a:r>
              <a:rPr lang="en" altLang="zh-CN" dirty="0" err="1"/>
              <a:t>SKUData</a:t>
            </a:r>
            <a:r>
              <a:rPr lang="en" altLang="zh-CN" dirty="0"/>
              <a:t> 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rif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包含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etail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ic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ock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等信息，具体其它字段可查看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thrift/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lerk.thrift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info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detail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info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stock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info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pric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离线数据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_[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站点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+ redis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859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+ </a:t>
            </a:r>
            <a:r>
              <a:rPr lang="en-US" altLang="zh-CN" dirty="0" err="1">
                <a:solidFill>
                  <a:srgbClr val="FF0000"/>
                </a:solidFill>
              </a:rPr>
              <a:t>sku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.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扩展信息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00+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任务，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实时任务）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7fresh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站点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iv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离线表 由内容研发部同学加工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分为基本属性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基本属性最主要的是末级类扩展字段 </a:t>
            </a:r>
            <a:r>
              <a:rPr lang="en" altLang="zh-CN" dirty="0" err="1"/>
              <a:t>unLimitCidExtendAttributes</a:t>
            </a:r>
            <a:r>
              <a:rPr lang="en" altLang="zh-CN" dirty="0"/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扩展属性为特定含义的商品属性，包括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ist&lt;String&gt;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ap&lt;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ring,String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&gt;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两类代码，比如 搜索词、价格等级、季节属性等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分为</a:t>
            </a:r>
            <a:r>
              <a:rPr lang="en" altLang="zh-CN" dirty="0" err="1"/>
              <a:t>SkuAttributInf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与</a:t>
            </a:r>
            <a:r>
              <a:rPr lang="en" altLang="zh-CN" dirty="0" err="1"/>
              <a:t>CommenInfo</a:t>
            </a:r>
            <a:r>
              <a:rPr lang="en" altLang="zh-CN" dirty="0"/>
              <a:t>   </a:t>
            </a:r>
            <a:r>
              <a:rPr lang="zh-CN" altLang="e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两类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rif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具体字段可查看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thrift/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venus.thrift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profil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temprofil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extend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基本属性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扩展属性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_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名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⚠️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以下特殊属性已迁移到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oi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属性：</a:t>
            </a:r>
            <a:r>
              <a:rPr lang="en" altLang="zh-CN" dirty="0"/>
              <a:t> </a:t>
            </a:r>
            <a:r>
              <a:rPr lang="en" altLang="zh-CN" dirty="0" err="1"/>
              <a:t>sku_sea</a:t>
            </a:r>
            <a:r>
              <a:rPr lang="zh-CN" altLang="en-US" dirty="0"/>
              <a:t>、</a:t>
            </a:r>
            <a:r>
              <a:rPr lang="en" altLang="zh-CN" dirty="0"/>
              <a:t> price</a:t>
            </a:r>
            <a:r>
              <a:rPr lang="zh-CN" altLang="en-US" dirty="0"/>
              <a:t>、</a:t>
            </a:r>
            <a:r>
              <a:rPr lang="en" altLang="zh-CN" dirty="0"/>
              <a:t> quarter</a:t>
            </a:r>
            <a:r>
              <a:rPr lang="zh-CN" altLang="en-US" dirty="0"/>
              <a:t>、</a:t>
            </a:r>
            <a:r>
              <a:rPr lang="en" altLang="zh-CN" dirty="0"/>
              <a:t> trans</a:t>
            </a:r>
            <a:r>
              <a:rPr lang="zh-CN" altLang="en-US" dirty="0"/>
              <a:t>、</a:t>
            </a:r>
            <a:r>
              <a:rPr lang="en" altLang="zh-CN" dirty="0"/>
              <a:t> </a:t>
            </a:r>
            <a:r>
              <a:rPr lang="en" altLang="zh-CN" dirty="0" err="1"/>
              <a:t>prc_grade</a:t>
            </a:r>
            <a:r>
              <a:rPr lang="zh-CN" altLang="en-US" dirty="0"/>
              <a:t>、</a:t>
            </a:r>
            <a:r>
              <a:rPr lang="en" altLang="zh-CN" dirty="0"/>
              <a:t> </a:t>
            </a:r>
            <a:r>
              <a:rPr lang="en" altLang="zh-CN" dirty="0" err="1"/>
              <a:t>promt_fea</a:t>
            </a:r>
            <a:r>
              <a:rPr lang="zh-CN" altLang="en-US" dirty="0"/>
              <a:t>、</a:t>
            </a:r>
            <a:r>
              <a:rPr lang="en" altLang="zh-CN" dirty="0"/>
              <a:t> </a:t>
            </a:r>
            <a:r>
              <a:rPr lang="en" altLang="zh-CN" dirty="0" err="1"/>
              <a:t>f_img</a:t>
            </a:r>
            <a:endParaRPr lang="en" altLang="zh-CN" dirty="0"/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bas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+ redis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539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+ </a:t>
            </a:r>
            <a:r>
              <a:rPr lang="en-US" altLang="zh-CN" dirty="0" err="1">
                <a:solidFill>
                  <a:srgbClr val="FF0000"/>
                </a:solidFill>
              </a:rPr>
              <a:t>sku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3.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召回信息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(500+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任务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</a:t>
            </a: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、印尼、泰国站，共两类数据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召回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lec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召回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iv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离线表 由算法同学加工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数据固定四列 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ed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weight tag(optional)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默认召回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0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，可配置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selection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之前为自由格式存储，不利于管控，后续改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t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分为相似、相关、冷起、热销等召回数据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数据结构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list&lt;</a:t>
            </a:r>
            <a:r>
              <a:rPr lang="en" altLang="zh-CN" dirty="0"/>
              <a:t> </a:t>
            </a:r>
            <a:r>
              <a:rPr lang="en" altLang="zh-CN" dirty="0" err="1"/>
              <a:t>PredictionItem</a:t>
            </a:r>
            <a:r>
              <a:rPr lang="en" altLang="zh-CN" dirty="0"/>
              <a:t>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&gt;,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rif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具体字段可查看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thrift/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iviner.thrift,selec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之前结构为自由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ring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，算法与开发协商决定，后新的均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to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</a:t>
            </a:r>
            <a:r>
              <a:rPr lang="en" altLang="zh-CN" dirty="0" err="1"/>
              <a:t>SingleData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, 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proto\feeder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eeder_common.proto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lec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lec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]~~~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名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lec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 表名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~~~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edict:hbase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+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edis,selection:redis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9402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+ </a:t>
            </a:r>
            <a:r>
              <a:rPr lang="en-US" altLang="zh-CN" dirty="0" err="1">
                <a:solidFill>
                  <a:srgbClr val="FF0000"/>
                </a:solidFill>
              </a:rPr>
              <a:t>sku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A5C4E68-70C2-2844-82FA-17C75311939B}"/>
              </a:ext>
            </a:extLst>
          </p:cNvPr>
          <p:cNvSpPr/>
          <p:nvPr/>
        </p:nvSpPr>
        <p:spPr>
          <a:xfrm>
            <a:off x="0" y="980728"/>
            <a:ext cx="9122257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0" eaLnBrk="0" hangingPunct="0">
              <a:spcBef>
                <a:spcPct val="0"/>
              </a:spcBef>
              <a:buNone/>
            </a:pP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4.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促销信息 （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离线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altLang="en-US" sz="22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实时）</a:t>
            </a:r>
            <a:endParaRPr lang="en-US" altLang="zh-CN" sz="22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接入：主站 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来源：实时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mq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消息、离线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iv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表数据，提供搜索和推荐两版数据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容：存储商品的促销信息、如开始时间、结束时间、促销信息等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格式：</a:t>
            </a:r>
            <a:r>
              <a:rPr lang="en" altLang="zh-CN" dirty="0"/>
              <a:t> list &lt; </a:t>
            </a:r>
            <a:r>
              <a:rPr lang="en" altLang="zh-CN" dirty="0" err="1"/>
              <a:t>SkuPromotion</a:t>
            </a:r>
            <a:r>
              <a:rPr lang="en" altLang="zh-CN" dirty="0"/>
              <a:t> &gt;(</a:t>
            </a:r>
            <a:r>
              <a:rPr lang="zh-CN" altLang="en" dirty="0"/>
              <a:t>推荐</a:t>
            </a:r>
            <a:r>
              <a:rPr lang="en" altLang="zh-CN" dirty="0"/>
              <a:t>)</a:t>
            </a:r>
            <a:r>
              <a:rPr lang="zh-CN" altLang="en-US" dirty="0"/>
              <a:t>、</a:t>
            </a:r>
            <a:r>
              <a:rPr lang="en" altLang="zh-CN" dirty="0" err="1"/>
              <a:t>PromotionInfo</a:t>
            </a:r>
            <a:r>
              <a:rPr lang="zh-CN" altLang="en-US" dirty="0"/>
              <a:t>（搜索），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为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hrift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结构，详细字段见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thrift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kupromotion.thrift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service-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pi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\thrift\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motion.thrift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调用：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proxy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bname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为 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romotion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ey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的组成方式为，推荐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S_sku</a:t>
            </a: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搜索为 </a:t>
            </a:r>
            <a:r>
              <a:rPr lang="en-US" altLang="zh-CN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M_sku</a:t>
            </a:r>
            <a:endParaRPr lang="en-US" altLang="zh-CN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360000" lvl="3" indent="-285750" eaLnBrk="0" hangingPunct="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zh-CN" altLang="en-US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存储：</a:t>
            </a:r>
            <a:r>
              <a:rPr lang="en-US" altLang="zh-CN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edis</a:t>
            </a:r>
          </a:p>
        </p:txBody>
      </p:sp>
    </p:spTree>
    <p:extLst>
      <p:ext uri="{BB962C8B-B14F-4D97-AF65-F5344CB8AC3E}">
        <p14:creationId xmlns:p14="http://schemas.microsoft.com/office/powerpoint/2010/main" val="560519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 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err="1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 0</Template>
  <TotalTime>17719</TotalTime>
  <Words>2090</Words>
  <Application>Microsoft Macintosh PowerPoint</Application>
  <PresentationFormat>全屏显示(4:3)</PresentationFormat>
  <Paragraphs>206</Paragraphs>
  <Slides>17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8" baseType="lpstr">
      <vt:lpstr>黑体</vt:lpstr>
      <vt:lpstr>宋体</vt:lpstr>
      <vt:lpstr>微软雅黑</vt:lpstr>
      <vt:lpstr>Arial</vt:lpstr>
      <vt:lpstr>Calibri</vt:lpstr>
      <vt:lpstr>Franklin Gothic Book</vt:lpstr>
      <vt:lpstr>Franklin Gothic Medium</vt:lpstr>
      <vt:lpstr>Times New Roman</vt:lpstr>
      <vt:lpstr>Wingdings</vt:lpstr>
      <vt:lpstr>JD Template V2 0</vt:lpstr>
      <vt:lpstr>think-cell Slide</vt:lpstr>
      <vt:lpstr>推荐基础数据介绍</vt:lpstr>
      <vt:lpstr>简介</vt:lpstr>
      <vt:lpstr>user + sku</vt:lpstr>
      <vt:lpstr>user + sku</vt:lpstr>
      <vt:lpstr>user + sku</vt:lpstr>
      <vt:lpstr>user + sku</vt:lpstr>
      <vt:lpstr>user + sku</vt:lpstr>
      <vt:lpstr>user + sku</vt:lpstr>
      <vt:lpstr>user + sku</vt:lpstr>
      <vt:lpstr>user + sku</vt:lpstr>
      <vt:lpstr>user + sku</vt:lpstr>
      <vt:lpstr>Hbase + redis</vt:lpstr>
      <vt:lpstr>offline + realtime</vt:lpstr>
      <vt:lpstr>dbproxy +hbase-to-redis</vt:lpstr>
      <vt:lpstr>recmate + sniffer +rsm</vt:lpstr>
      <vt:lpstr>导数文档及配置工程解析等</vt:lpstr>
      <vt:lpstr>PowerPoint 演示文稿</vt:lpstr>
    </vt:vector>
  </TitlesOfParts>
  <Company>Microsoft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李佳丽</dc:creator>
  <cp:lastModifiedBy>li zibo</cp:lastModifiedBy>
  <cp:revision>214</cp:revision>
  <dcterms:created xsi:type="dcterms:W3CDTF">2014-05-15T11:05:54Z</dcterms:created>
  <dcterms:modified xsi:type="dcterms:W3CDTF">2019-12-20T05:58:47Z</dcterms:modified>
</cp:coreProperties>
</file>